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tags/tag12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3"/>
  </p:notesMasterIdLst>
  <p:sldIdLst>
    <p:sldId id="475" r:id="rId2"/>
  </p:sldIdLst>
  <p:sldSz cx="12192000" cy="6858000"/>
  <p:notesSz cx="6858000" cy="9144000"/>
  <p:custDataLst>
    <p:tags r:id="rId4"/>
  </p:custDataLst>
  <p:defaultTextStyle>
    <a:defPPr>
      <a:defRPr lang="pt-B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37B56"/>
    <a:srgbClr val="5B8772"/>
    <a:srgbClr val="9BBBAC"/>
    <a:srgbClr val="AE9518"/>
    <a:srgbClr val="1D5735"/>
    <a:srgbClr val="78ADDD"/>
    <a:srgbClr val="2E75B6"/>
    <a:srgbClr val="0D2B55"/>
    <a:srgbClr val="C3C7D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62BFD47-53AE-4CF3-9F7D-8E0E913E9ED8}" v="1" dt="2023-12-18T12:42:43.61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 varScale="1">
        <p:scale>
          <a:sx n="82" d="100"/>
          <a:sy n="82" d="100"/>
        </p:scale>
        <p:origin x="1018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bleStyles" Target="tableStyles.xml"/><Relationship Id="rId3" Type="http://schemas.openxmlformats.org/officeDocument/2006/relationships/notesMaster" Target="notesMasters/notesMaster1.xml"/><Relationship Id="rId7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viewProps" Target="viewProps.xml"/><Relationship Id="rId5" Type="http://schemas.openxmlformats.org/officeDocument/2006/relationships/presProps" Target="presProps.xml"/><Relationship Id="rId10" Type="http://schemas.microsoft.com/office/2015/10/relationships/revisionInfo" Target="revisionInfo.xml"/><Relationship Id="rId4" Type="http://schemas.openxmlformats.org/officeDocument/2006/relationships/tags" Target="tags/tag1.xml"/><Relationship Id="rId9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icardo Sérgio Souza e Sousa" userId="b2322a61-6b0f-42d2-a39f-a9a5f08999e4" providerId="ADAL" clId="{BAE73D58-8536-4D58-B7D9-5607D56F74BA}"/>
    <pc:docChg chg="custSel modSld">
      <pc:chgData name="Ricardo Sérgio Souza e Sousa" userId="b2322a61-6b0f-42d2-a39f-a9a5f08999e4" providerId="ADAL" clId="{BAE73D58-8536-4D58-B7D9-5607D56F74BA}" dt="2021-09-09T18:00:28.758" v="6" actId="478"/>
      <pc:docMkLst>
        <pc:docMk/>
      </pc:docMkLst>
      <pc:sldChg chg="addSp delSp modSp mod delAnim modAnim">
        <pc:chgData name="Ricardo Sérgio Souza e Sousa" userId="b2322a61-6b0f-42d2-a39f-a9a5f08999e4" providerId="ADAL" clId="{BAE73D58-8536-4D58-B7D9-5607D56F74BA}" dt="2021-09-09T18:00:28.758" v="6" actId="478"/>
        <pc:sldMkLst>
          <pc:docMk/>
          <pc:sldMk cId="0" sldId="319"/>
        </pc:sldMkLst>
        <pc:spChg chg="add del mod">
          <ac:chgData name="Ricardo Sérgio Souza e Sousa" userId="b2322a61-6b0f-42d2-a39f-a9a5f08999e4" providerId="ADAL" clId="{BAE73D58-8536-4D58-B7D9-5607D56F74BA}" dt="2021-09-09T17:59:06.244" v="1" actId="478"/>
          <ac:spMkLst>
            <pc:docMk/>
            <pc:sldMk cId="0" sldId="319"/>
            <ac:spMk id="3" creationId="{D7C71633-E9F3-4DF5-9456-7B31E035A0E1}"/>
          </ac:spMkLst>
        </pc:spChg>
        <pc:picChg chg="del">
          <ac:chgData name="Ricardo Sérgio Souza e Sousa" userId="b2322a61-6b0f-42d2-a39f-a9a5f08999e4" providerId="ADAL" clId="{BAE73D58-8536-4D58-B7D9-5607D56F74BA}" dt="2021-09-09T17:59:02.609" v="0" actId="478"/>
          <ac:picMkLst>
            <pc:docMk/>
            <pc:sldMk cId="0" sldId="319"/>
            <ac:picMk id="4" creationId="{FEA4F5BF-D930-4273-B9B5-D800AEE4E4DA}"/>
          </ac:picMkLst>
        </pc:picChg>
        <pc:picChg chg="add del mod">
          <ac:chgData name="Ricardo Sérgio Souza e Sousa" userId="b2322a61-6b0f-42d2-a39f-a9a5f08999e4" providerId="ADAL" clId="{BAE73D58-8536-4D58-B7D9-5607D56F74BA}" dt="2021-09-09T18:00:28.758" v="6" actId="478"/>
          <ac:picMkLst>
            <pc:docMk/>
            <pc:sldMk cId="0" sldId="319"/>
            <ac:picMk id="5" creationId="{65BF9E37-7FDF-4187-96EF-D4E482AFCB96}"/>
          </ac:picMkLst>
        </pc:picChg>
        <pc:picChg chg="del">
          <ac:chgData name="Ricardo Sérgio Souza e Sousa" userId="b2322a61-6b0f-42d2-a39f-a9a5f08999e4" providerId="ADAL" clId="{BAE73D58-8536-4D58-B7D9-5607D56F74BA}" dt="2021-09-09T17:59:02.609" v="0" actId="478"/>
          <ac:picMkLst>
            <pc:docMk/>
            <pc:sldMk cId="0" sldId="319"/>
            <ac:picMk id="146446" creationId="{B6EC7380-DCEA-479A-9C88-2026F859D2A8}"/>
          </ac:picMkLst>
        </pc:picChg>
      </pc:sldChg>
    </pc:docChg>
  </pc:docChgLst>
  <pc:docChgLst>
    <pc:chgData name="José Batinga dos Santos" userId="S::jose.batinga@vale-verde.com::73a5ab47-10d3-45c9-a927-892091aad364" providerId="AD" clId="Web-{D3CEA148-7F1C-A9EC-FF52-E361CF3795E2}"/>
    <pc:docChg chg="addSld delSld modSld">
      <pc:chgData name="José Batinga dos Santos" userId="S::jose.batinga@vale-verde.com::73a5ab47-10d3-45c9-a927-892091aad364" providerId="AD" clId="Web-{D3CEA148-7F1C-A9EC-FF52-E361CF3795E2}" dt="2022-05-20T14:47:29.907" v="1021" actId="20577"/>
      <pc:docMkLst>
        <pc:docMk/>
      </pc:docMkLst>
      <pc:sldChg chg="modSp mod modClrScheme chgLayout">
        <pc:chgData name="José Batinga dos Santos" userId="S::jose.batinga@vale-verde.com::73a5ab47-10d3-45c9-a927-892091aad364" providerId="AD" clId="Web-{D3CEA148-7F1C-A9EC-FF52-E361CF3795E2}" dt="2022-05-20T12:31:03.335" v="24"/>
        <pc:sldMkLst>
          <pc:docMk/>
          <pc:sldMk cId="3966786805" sldId="764"/>
        </pc:sldMkLst>
        <pc:spChg chg="mod ord">
          <ac:chgData name="José Batinga dos Santos" userId="S::jose.batinga@vale-verde.com::73a5ab47-10d3-45c9-a927-892091aad364" providerId="AD" clId="Web-{D3CEA148-7F1C-A9EC-FF52-E361CF3795E2}" dt="2022-05-20T12:31:03.335" v="24"/>
          <ac:spMkLst>
            <pc:docMk/>
            <pc:sldMk cId="3966786805" sldId="764"/>
            <ac:spMk id="2" creationId="{00000000-0000-0000-0000-000000000000}"/>
          </ac:spMkLst>
        </pc:spChg>
      </pc:sldChg>
      <pc:sldChg chg="modSp">
        <pc:chgData name="José Batinga dos Santos" userId="S::jose.batinga@vale-verde.com::73a5ab47-10d3-45c9-a927-892091aad364" providerId="AD" clId="Web-{D3CEA148-7F1C-A9EC-FF52-E361CF3795E2}" dt="2022-05-20T13:04:36.447" v="301" actId="20577"/>
        <pc:sldMkLst>
          <pc:docMk/>
          <pc:sldMk cId="3327409246" sldId="778"/>
        </pc:sldMkLst>
        <pc:spChg chg="mod">
          <ac:chgData name="José Batinga dos Santos" userId="S::jose.batinga@vale-verde.com::73a5ab47-10d3-45c9-a927-892091aad364" providerId="AD" clId="Web-{D3CEA148-7F1C-A9EC-FF52-E361CF3795E2}" dt="2022-05-20T13:04:36.447" v="301" actId="20577"/>
          <ac:spMkLst>
            <pc:docMk/>
            <pc:sldMk cId="3327409246" sldId="778"/>
            <ac:spMk id="3" creationId="{B70242D4-3611-B361-4A39-618C9095A631}"/>
          </ac:spMkLst>
        </pc:spChg>
      </pc:sldChg>
      <pc:sldChg chg="modSp">
        <pc:chgData name="José Batinga dos Santos" userId="S::jose.batinga@vale-verde.com::73a5ab47-10d3-45c9-a927-892091aad364" providerId="AD" clId="Web-{D3CEA148-7F1C-A9EC-FF52-E361CF3795E2}" dt="2022-05-20T13:06:05.887" v="306" actId="14100"/>
        <pc:sldMkLst>
          <pc:docMk/>
          <pc:sldMk cId="2454085429" sldId="783"/>
        </pc:sldMkLst>
        <pc:spChg chg="mod">
          <ac:chgData name="José Batinga dos Santos" userId="S::jose.batinga@vale-verde.com::73a5ab47-10d3-45c9-a927-892091aad364" providerId="AD" clId="Web-{D3CEA148-7F1C-A9EC-FF52-E361CF3795E2}" dt="2022-05-20T13:06:05.887" v="306" actId="14100"/>
          <ac:spMkLst>
            <pc:docMk/>
            <pc:sldMk cId="2454085429" sldId="783"/>
            <ac:spMk id="3" creationId="{CEC51C33-4CFD-828C-9389-E83DA1A8A09B}"/>
          </ac:spMkLst>
        </pc:spChg>
      </pc:sldChg>
      <pc:sldChg chg="add replId">
        <pc:chgData name="José Batinga dos Santos" userId="S::jose.batinga@vale-verde.com::73a5ab47-10d3-45c9-a927-892091aad364" providerId="AD" clId="Web-{D3CEA148-7F1C-A9EC-FF52-E361CF3795E2}" dt="2022-05-20T12:26:41.719" v="0"/>
        <pc:sldMkLst>
          <pc:docMk/>
          <pc:sldMk cId="4051024138" sldId="16685"/>
        </pc:sldMkLst>
      </pc:sldChg>
      <pc:sldChg chg="new del">
        <pc:chgData name="José Batinga dos Santos" userId="S::jose.batinga@vale-verde.com::73a5ab47-10d3-45c9-a927-892091aad364" providerId="AD" clId="Web-{D3CEA148-7F1C-A9EC-FF52-E361CF3795E2}" dt="2022-05-20T12:30:48.444" v="23"/>
        <pc:sldMkLst>
          <pc:docMk/>
          <pc:sldMk cId="3137014049" sldId="16686"/>
        </pc:sldMkLst>
      </pc:sldChg>
      <pc:sldChg chg="addSp delSp modSp new add del">
        <pc:chgData name="José Batinga dos Santos" userId="S::jose.batinga@vale-verde.com::73a5ab47-10d3-45c9-a927-892091aad364" providerId="AD" clId="Web-{D3CEA148-7F1C-A9EC-FF52-E361CF3795E2}" dt="2022-05-20T14:47:29.907" v="1021" actId="20577"/>
        <pc:sldMkLst>
          <pc:docMk/>
          <pc:sldMk cId="3929920353" sldId="16686"/>
        </pc:sldMkLst>
        <pc:spChg chg="del">
          <ac:chgData name="José Batinga dos Santos" userId="S::jose.batinga@vale-verde.com::73a5ab47-10d3-45c9-a927-892091aad364" providerId="AD" clId="Web-{D3CEA148-7F1C-A9EC-FF52-E361CF3795E2}" dt="2022-05-20T12:31:55.805" v="26"/>
          <ac:spMkLst>
            <pc:docMk/>
            <pc:sldMk cId="3929920353" sldId="16686"/>
            <ac:spMk id="2" creationId="{6B2A46A0-CE3B-81B3-21CA-2C6C574C968E}"/>
          </ac:spMkLst>
        </pc:spChg>
        <pc:spChg chg="del">
          <ac:chgData name="José Batinga dos Santos" userId="S::jose.batinga@vale-verde.com::73a5ab47-10d3-45c9-a927-892091aad364" providerId="AD" clId="Web-{D3CEA148-7F1C-A9EC-FF52-E361CF3795E2}" dt="2022-05-20T12:32:19.259" v="28"/>
          <ac:spMkLst>
            <pc:docMk/>
            <pc:sldMk cId="3929920353" sldId="16686"/>
            <ac:spMk id="3" creationId="{EE2AC74E-8455-28B1-2266-6F8AA3E6362C}"/>
          </ac:spMkLst>
        </pc:spChg>
        <pc:spChg chg="del">
          <ac:chgData name="José Batinga dos Santos" userId="S::jose.batinga@vale-verde.com::73a5ab47-10d3-45c9-a927-892091aad364" providerId="AD" clId="Web-{D3CEA148-7F1C-A9EC-FF52-E361CF3795E2}" dt="2022-05-20T12:32:19.259" v="27"/>
          <ac:spMkLst>
            <pc:docMk/>
            <pc:sldMk cId="3929920353" sldId="16686"/>
            <ac:spMk id="4" creationId="{5ABA5B7B-FBE2-95FF-A2E0-D9237B4DDDF3}"/>
          </ac:spMkLst>
        </pc:spChg>
        <pc:spChg chg="add mod">
          <ac:chgData name="José Batinga dos Santos" userId="S::jose.batinga@vale-verde.com::73a5ab47-10d3-45c9-a927-892091aad364" providerId="AD" clId="Web-{D3CEA148-7F1C-A9EC-FF52-E361CF3795E2}" dt="2022-05-20T12:33:34.308" v="89" actId="20577"/>
          <ac:spMkLst>
            <pc:docMk/>
            <pc:sldMk cId="3929920353" sldId="16686"/>
            <ac:spMk id="6" creationId="{E341ABE8-6360-EA55-2F71-6313D69090C1}"/>
          </ac:spMkLst>
        </pc:spChg>
        <pc:spChg chg="add del mod">
          <ac:chgData name="José Batinga dos Santos" userId="S::jose.batinga@vale-verde.com::73a5ab47-10d3-45c9-a927-892091aad364" providerId="AD" clId="Web-{D3CEA148-7F1C-A9EC-FF52-E361CF3795E2}" dt="2022-05-20T12:33:53.558" v="92"/>
          <ac:spMkLst>
            <pc:docMk/>
            <pc:sldMk cId="3929920353" sldId="16686"/>
            <ac:spMk id="7" creationId="{289E4F98-E9D0-9474-49C2-D895ECAC1446}"/>
          </ac:spMkLst>
        </pc:spChg>
        <pc:spChg chg="add mod">
          <ac:chgData name="José Batinga dos Santos" userId="S::jose.batinga@vale-verde.com::73a5ab47-10d3-45c9-a927-892091aad364" providerId="AD" clId="Web-{D3CEA148-7F1C-A9EC-FF52-E361CF3795E2}" dt="2022-05-20T14:47:29.907" v="1021" actId="20577"/>
          <ac:spMkLst>
            <pc:docMk/>
            <pc:sldMk cId="3929920353" sldId="16686"/>
            <ac:spMk id="8" creationId="{BBE3E93D-1957-7EE7-89FA-DA3FB2806230}"/>
          </ac:spMkLst>
        </pc:spChg>
      </pc:sldChg>
      <pc:sldChg chg="addSp modSp new">
        <pc:chgData name="José Batinga dos Santos" userId="S::jose.batinga@vale-verde.com::73a5ab47-10d3-45c9-a927-892091aad364" providerId="AD" clId="Web-{D3CEA148-7F1C-A9EC-FF52-E361CF3795E2}" dt="2022-05-20T14:40:39.004" v="1007" actId="20577"/>
        <pc:sldMkLst>
          <pc:docMk/>
          <pc:sldMk cId="3100852214" sldId="16687"/>
        </pc:sldMkLst>
        <pc:spChg chg="add">
          <ac:chgData name="José Batinga dos Santos" userId="S::jose.batinga@vale-verde.com::73a5ab47-10d3-45c9-a927-892091aad364" providerId="AD" clId="Web-{D3CEA148-7F1C-A9EC-FF52-E361CF3795E2}" dt="2022-05-20T12:42:04.352" v="217"/>
          <ac:spMkLst>
            <pc:docMk/>
            <pc:sldMk cId="3100852214" sldId="16687"/>
            <ac:spMk id="3" creationId="{2EB45B65-E6A0-2F80-FCCC-46BCDDF74103}"/>
          </ac:spMkLst>
        </pc:spChg>
        <pc:spChg chg="add mod">
          <ac:chgData name="José Batinga dos Santos" userId="S::jose.batinga@vale-verde.com::73a5ab47-10d3-45c9-a927-892091aad364" providerId="AD" clId="Web-{D3CEA148-7F1C-A9EC-FF52-E361CF3795E2}" dt="2022-05-20T14:40:39.004" v="1007" actId="20577"/>
          <ac:spMkLst>
            <pc:docMk/>
            <pc:sldMk cId="3100852214" sldId="16687"/>
            <ac:spMk id="4" creationId="{395E37A2-64A8-D703-6FC3-820D6221D558}"/>
          </ac:spMkLst>
        </pc:spChg>
      </pc:sldChg>
      <pc:sldChg chg="modSp add replId">
        <pc:chgData name="José Batinga dos Santos" userId="S::jose.batinga@vale-verde.com::73a5ab47-10d3-45c9-a927-892091aad364" providerId="AD" clId="Web-{D3CEA148-7F1C-A9EC-FF52-E361CF3795E2}" dt="2022-05-20T14:41:03.504" v="1009" actId="20577"/>
        <pc:sldMkLst>
          <pc:docMk/>
          <pc:sldMk cId="790595336" sldId="16688"/>
        </pc:sldMkLst>
        <pc:spChg chg="mod">
          <ac:chgData name="José Batinga dos Santos" userId="S::jose.batinga@vale-verde.com::73a5ab47-10d3-45c9-a927-892091aad364" providerId="AD" clId="Web-{D3CEA148-7F1C-A9EC-FF52-E361CF3795E2}" dt="2022-05-20T14:41:03.504" v="1009" actId="20577"/>
          <ac:spMkLst>
            <pc:docMk/>
            <pc:sldMk cId="790595336" sldId="16688"/>
            <ac:spMk id="4" creationId="{395E37A2-64A8-D703-6FC3-820D6221D558}"/>
          </ac:spMkLst>
        </pc:spChg>
      </pc:sldChg>
      <pc:sldChg chg="modSp add replId">
        <pc:chgData name="José Batinga dos Santos" userId="S::jose.batinga@vale-verde.com::73a5ab47-10d3-45c9-a927-892091aad364" providerId="AD" clId="Web-{D3CEA148-7F1C-A9EC-FF52-E361CF3795E2}" dt="2022-05-20T14:17:10.336" v="993" actId="20577"/>
        <pc:sldMkLst>
          <pc:docMk/>
          <pc:sldMk cId="4033710926" sldId="16689"/>
        </pc:sldMkLst>
        <pc:spChg chg="mod">
          <ac:chgData name="José Batinga dos Santos" userId="S::jose.batinga@vale-verde.com::73a5ab47-10d3-45c9-a927-892091aad364" providerId="AD" clId="Web-{D3CEA148-7F1C-A9EC-FF52-E361CF3795E2}" dt="2022-05-20T14:17:10.336" v="993" actId="20577"/>
          <ac:spMkLst>
            <pc:docMk/>
            <pc:sldMk cId="4033710926" sldId="16689"/>
            <ac:spMk id="4" creationId="{395E37A2-64A8-D703-6FC3-820D6221D558}"/>
          </ac:spMkLst>
        </pc:spChg>
      </pc:sldChg>
      <pc:sldChg chg="modSp add replId">
        <pc:chgData name="José Batinga dos Santos" userId="S::jose.batinga@vale-verde.com::73a5ab47-10d3-45c9-a927-892091aad364" providerId="AD" clId="Web-{D3CEA148-7F1C-A9EC-FF52-E361CF3795E2}" dt="2022-05-20T13:55:14.819" v="865" actId="20577"/>
        <pc:sldMkLst>
          <pc:docMk/>
          <pc:sldMk cId="3976730775" sldId="16690"/>
        </pc:sldMkLst>
        <pc:spChg chg="mod">
          <ac:chgData name="José Batinga dos Santos" userId="S::jose.batinga@vale-verde.com::73a5ab47-10d3-45c9-a927-892091aad364" providerId="AD" clId="Web-{D3CEA148-7F1C-A9EC-FF52-E361CF3795E2}" dt="2022-05-20T13:55:14.819" v="865" actId="20577"/>
          <ac:spMkLst>
            <pc:docMk/>
            <pc:sldMk cId="3976730775" sldId="16690"/>
            <ac:spMk id="3" creationId="{CEC51C33-4CFD-828C-9389-E83DA1A8A09B}"/>
          </ac:spMkLst>
        </pc:spChg>
      </pc:sldChg>
    </pc:docChg>
  </pc:docChgLst>
  <pc:docChgLst>
    <pc:chgData name="Ricardo Sérgio Souza e Sousa" userId="b2322a61-6b0f-42d2-a39f-a9a5f08999e4" providerId="ADAL" clId="{F7F79181-87BF-44AE-B828-0B657792DFE7}"/>
    <pc:docChg chg="undo redo custSel addSld delSld modSld sldOrd modMainMaster">
      <pc:chgData name="Ricardo Sérgio Souza e Sousa" userId="b2322a61-6b0f-42d2-a39f-a9a5f08999e4" providerId="ADAL" clId="{F7F79181-87BF-44AE-B828-0B657792DFE7}" dt="2022-05-20T17:02:47.324" v="10851"/>
      <pc:docMkLst>
        <pc:docMk/>
      </pc:docMkLst>
      <pc:sldChg chg="addSp delSp modSp add del mod modClrScheme chgLayout">
        <pc:chgData name="Ricardo Sérgio Souza e Sousa" userId="b2322a61-6b0f-42d2-a39f-a9a5f08999e4" providerId="ADAL" clId="{F7F79181-87BF-44AE-B828-0B657792DFE7}" dt="2022-05-02T11:32:55.798" v="4442" actId="47"/>
        <pc:sldMkLst>
          <pc:docMk/>
          <pc:sldMk cId="0" sldId="257"/>
        </pc:sldMkLst>
        <pc:spChg chg="del">
          <ac:chgData name="Ricardo Sérgio Souza e Sousa" userId="b2322a61-6b0f-42d2-a39f-a9a5f08999e4" providerId="ADAL" clId="{F7F79181-87BF-44AE-B828-0B657792DFE7}" dt="2022-05-02T11:32:13.998" v="4414" actId="478"/>
          <ac:spMkLst>
            <pc:docMk/>
            <pc:sldMk cId="0" sldId="257"/>
            <ac:spMk id="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1:32:54.373" v="4441" actId="1076"/>
          <ac:spMkLst>
            <pc:docMk/>
            <pc:sldMk cId="0" sldId="257"/>
            <ac:spMk id="3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1:32:10.698" v="4413" actId="20577"/>
          <ac:spMkLst>
            <pc:docMk/>
            <pc:sldMk cId="0" sldId="257"/>
            <ac:spMk id="5" creationId="{48181F3E-81CC-F22A-80AD-35CAA37A622B}"/>
          </ac:spMkLst>
        </pc:spChg>
        <pc:spChg chg="add del mod">
          <ac:chgData name="Ricardo Sérgio Souza e Sousa" userId="b2322a61-6b0f-42d2-a39f-a9a5f08999e4" providerId="ADAL" clId="{F7F79181-87BF-44AE-B828-0B657792DFE7}" dt="2022-05-02T11:32:26.998" v="4433"/>
          <ac:spMkLst>
            <pc:docMk/>
            <pc:sldMk cId="0" sldId="257"/>
            <ac:spMk id="7" creationId="{8D8039B4-2422-D9FC-D298-977AD3422A29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5-02T11:32:27.512" v="4435"/>
          <ac:graphicFrameMkLst>
            <pc:docMk/>
            <pc:sldMk cId="0" sldId="257"/>
            <ac:graphicFrameMk id="8" creationId="{F2E05786-35F2-C019-4CBD-9BC41D4168F1}"/>
          </ac:graphicFrameMkLst>
        </pc:graphicFrameChg>
        <pc:picChg chg="del">
          <ac:chgData name="Ricardo Sérgio Souza e Sousa" userId="b2322a61-6b0f-42d2-a39f-a9a5f08999e4" providerId="ADAL" clId="{F7F79181-87BF-44AE-B828-0B657792DFE7}" dt="2022-05-02T11:32:15.150" v="4431" actId="478"/>
          <ac:picMkLst>
            <pc:docMk/>
            <pc:sldMk cId="0" sldId="257"/>
            <ac:picMk id="4" creationId="{00000000-0000-0000-0000-000000000000}"/>
          </ac:picMkLst>
        </pc:picChg>
      </pc:sldChg>
      <pc:sldChg chg="addSp delSp modSp add mod modClrScheme chgLayout">
        <pc:chgData name="Ricardo Sérgio Souza e Sousa" userId="b2322a61-6b0f-42d2-a39f-a9a5f08999e4" providerId="ADAL" clId="{F7F79181-87BF-44AE-B828-0B657792DFE7}" dt="2022-05-02T11:35:41.614" v="4513" actId="1076"/>
        <pc:sldMkLst>
          <pc:docMk/>
          <pc:sldMk cId="0" sldId="258"/>
        </pc:sldMkLst>
        <pc:spChg chg="del mod ord">
          <ac:chgData name="Ricardo Sérgio Souza e Sousa" userId="b2322a61-6b0f-42d2-a39f-a9a5f08999e4" providerId="ADAL" clId="{F7F79181-87BF-44AE-B828-0B657792DFE7}" dt="2022-05-02T11:33:16.782" v="4499" actId="478"/>
          <ac:spMkLst>
            <pc:docMk/>
            <pc:sldMk cId="0" sldId="258"/>
            <ac:spMk id="2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1:33:14.351" v="4498" actId="20577"/>
          <ac:spMkLst>
            <pc:docMk/>
            <pc:sldMk cId="0" sldId="258"/>
            <ac:spMk id="5" creationId="{BDDF1D9F-3B45-1AC1-CE9B-D6CD2C57ABA4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5-02T11:33:17.288" v="4501"/>
          <ac:graphicFrameMkLst>
            <pc:docMk/>
            <pc:sldMk cId="0" sldId="258"/>
            <ac:graphicFrameMk id="6" creationId="{30C777B7-7C4E-00D0-4BAD-C2D900D6100C}"/>
          </ac:graphicFrameMkLst>
        </pc:graphicFrameChg>
        <pc:picChg chg="del mod">
          <ac:chgData name="Ricardo Sérgio Souza e Sousa" userId="b2322a61-6b0f-42d2-a39f-a9a5f08999e4" providerId="ADAL" clId="{F7F79181-87BF-44AE-B828-0B657792DFE7}" dt="2022-05-02T11:35:12.524" v="4503" actId="478"/>
          <ac:picMkLst>
            <pc:docMk/>
            <pc:sldMk cId="0" sldId="258"/>
            <ac:picMk id="3" creationId="{00000000-0000-0000-0000-000000000000}"/>
          </ac:picMkLst>
        </pc:picChg>
        <pc:picChg chg="del">
          <ac:chgData name="Ricardo Sérgio Souza e Sousa" userId="b2322a61-6b0f-42d2-a39f-a9a5f08999e4" providerId="ADAL" clId="{F7F79181-87BF-44AE-B828-0B657792DFE7}" dt="2022-05-02T11:33:17.433" v="4502" actId="478"/>
          <ac:picMkLst>
            <pc:docMk/>
            <pc:sldMk cId="0" sldId="258"/>
            <ac:picMk id="4" creationId="{00000000-0000-0000-0000-000000000000}"/>
          </ac:picMkLst>
        </pc:picChg>
        <pc:picChg chg="add del mod modCrop">
          <ac:chgData name="Ricardo Sérgio Souza e Sousa" userId="b2322a61-6b0f-42d2-a39f-a9a5f08999e4" providerId="ADAL" clId="{F7F79181-87BF-44AE-B828-0B657792DFE7}" dt="2022-05-02T11:35:31.539" v="4508" actId="21"/>
          <ac:picMkLst>
            <pc:docMk/>
            <pc:sldMk cId="0" sldId="258"/>
            <ac:picMk id="7" creationId="{403AA340-9F30-FA10-9F00-4E87EF47BF7C}"/>
          </ac:picMkLst>
        </pc:picChg>
        <pc:picChg chg="add mod">
          <ac:chgData name="Ricardo Sérgio Souza e Sousa" userId="b2322a61-6b0f-42d2-a39f-a9a5f08999e4" providerId="ADAL" clId="{F7F79181-87BF-44AE-B828-0B657792DFE7}" dt="2022-05-02T11:35:41.614" v="4513" actId="1076"/>
          <ac:picMkLst>
            <pc:docMk/>
            <pc:sldMk cId="0" sldId="258"/>
            <ac:picMk id="8" creationId="{4B70F686-726F-B748-372E-8ED999A2163F}"/>
          </ac:picMkLst>
        </pc:picChg>
      </pc:sldChg>
      <pc:sldChg chg="addSp delSp modSp add mod modClrScheme chgLayout">
        <pc:chgData name="Ricardo Sérgio Souza e Sousa" userId="b2322a61-6b0f-42d2-a39f-a9a5f08999e4" providerId="ADAL" clId="{F7F79181-87BF-44AE-B828-0B657792DFE7}" dt="2022-05-02T11:43:05.204" v="4960"/>
        <pc:sldMkLst>
          <pc:docMk/>
          <pc:sldMk cId="0" sldId="259"/>
        </pc:sldMkLst>
        <pc:spChg chg="del mod ord">
          <ac:chgData name="Ricardo Sérgio Souza e Sousa" userId="b2322a61-6b0f-42d2-a39f-a9a5f08999e4" providerId="ADAL" clId="{F7F79181-87BF-44AE-B828-0B657792DFE7}" dt="2022-05-02T11:43:04.690" v="4958" actId="478"/>
          <ac:spMkLst>
            <pc:docMk/>
            <pc:sldMk cId="0" sldId="259"/>
            <ac:spMk id="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1:39:38.762" v="4681" actId="1035"/>
          <ac:spMkLst>
            <pc:docMk/>
            <pc:sldMk cId="0" sldId="259"/>
            <ac:spMk id="5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1:37:44.040" v="4570" actId="1036"/>
          <ac:spMkLst>
            <pc:docMk/>
            <pc:sldMk cId="0" sldId="259"/>
            <ac:spMk id="6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1:37:44.040" v="4570" actId="1036"/>
          <ac:spMkLst>
            <pc:docMk/>
            <pc:sldMk cId="0" sldId="259"/>
            <ac:spMk id="7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1:37:44.040" v="4570" actId="1036"/>
          <ac:spMkLst>
            <pc:docMk/>
            <pc:sldMk cId="0" sldId="259"/>
            <ac:spMk id="8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1:37:44.040" v="4570" actId="1036"/>
          <ac:spMkLst>
            <pc:docMk/>
            <pc:sldMk cId="0" sldId="259"/>
            <ac:spMk id="9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1:43:02.596" v="4957" actId="20577"/>
          <ac:spMkLst>
            <pc:docMk/>
            <pc:sldMk cId="0" sldId="259"/>
            <ac:spMk id="10" creationId="{3EE3B5A2-E552-75F7-59B8-9FF97354D0BD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5-02T11:43:05.204" v="4960"/>
          <ac:graphicFrameMkLst>
            <pc:docMk/>
            <pc:sldMk cId="0" sldId="259"/>
            <ac:graphicFrameMk id="11" creationId="{3FACA749-0826-9449-3DB5-1279A474BC65}"/>
          </ac:graphicFrameMkLst>
        </pc:graphicFrameChg>
        <pc:picChg chg="del">
          <ac:chgData name="Ricardo Sérgio Souza e Sousa" userId="b2322a61-6b0f-42d2-a39f-a9a5f08999e4" providerId="ADAL" clId="{F7F79181-87BF-44AE-B828-0B657792DFE7}" dt="2022-05-02T11:37:33.669" v="4551" actId="478"/>
          <ac:picMkLst>
            <pc:docMk/>
            <pc:sldMk cId="0" sldId="259"/>
            <ac:picMk id="3" creationId="{00000000-0000-0000-0000-000000000000}"/>
          </ac:picMkLst>
        </pc:picChg>
        <pc:picChg chg="mod">
          <ac:chgData name="Ricardo Sérgio Souza e Sousa" userId="b2322a61-6b0f-42d2-a39f-a9a5f08999e4" providerId="ADAL" clId="{F7F79181-87BF-44AE-B828-0B657792DFE7}" dt="2022-05-02T11:37:56.942" v="4575" actId="1076"/>
          <ac:picMkLst>
            <pc:docMk/>
            <pc:sldMk cId="0" sldId="259"/>
            <ac:picMk id="4" creationId="{00000000-0000-0000-0000-000000000000}"/>
          </ac:picMkLst>
        </pc:picChg>
      </pc:sldChg>
      <pc:sldChg chg="addSp delSp modSp add mod modClrScheme chgLayout">
        <pc:chgData name="Ricardo Sérgio Souza e Sousa" userId="b2322a61-6b0f-42d2-a39f-a9a5f08999e4" providerId="ADAL" clId="{F7F79181-87BF-44AE-B828-0B657792DFE7}" dt="2022-05-02T11:43:18.832" v="4964"/>
        <pc:sldMkLst>
          <pc:docMk/>
          <pc:sldMk cId="0" sldId="260"/>
        </pc:sldMkLst>
        <pc:spChg chg="del mod ord">
          <ac:chgData name="Ricardo Sérgio Souza e Sousa" userId="b2322a61-6b0f-42d2-a39f-a9a5f08999e4" providerId="ADAL" clId="{F7F79181-87BF-44AE-B828-0B657792DFE7}" dt="2022-05-02T11:38:40.973" v="4627" actId="478"/>
          <ac:spMkLst>
            <pc:docMk/>
            <pc:sldMk cId="0" sldId="260"/>
            <ac:spMk id="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1:39:48.454" v="4693" actId="1035"/>
          <ac:spMkLst>
            <pc:docMk/>
            <pc:sldMk cId="0" sldId="260"/>
            <ac:spMk id="7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1:39:58.434" v="4728" actId="1038"/>
          <ac:spMkLst>
            <pc:docMk/>
            <pc:sldMk cId="0" sldId="260"/>
            <ac:spMk id="8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1:39:58.434" v="4728" actId="1038"/>
          <ac:spMkLst>
            <pc:docMk/>
            <pc:sldMk cId="0" sldId="260"/>
            <ac:spMk id="9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1:39:58.434" v="4728" actId="1038"/>
          <ac:spMkLst>
            <pc:docMk/>
            <pc:sldMk cId="0" sldId="260"/>
            <ac:spMk id="10" creationId="{00000000-0000-0000-0000-000000000000}"/>
          </ac:spMkLst>
        </pc:spChg>
        <pc:spChg chg="add del mod">
          <ac:chgData name="Ricardo Sérgio Souza e Sousa" userId="b2322a61-6b0f-42d2-a39f-a9a5f08999e4" providerId="ADAL" clId="{F7F79181-87BF-44AE-B828-0B657792DFE7}" dt="2022-05-02T11:43:18.458" v="4963" actId="478"/>
          <ac:spMkLst>
            <pc:docMk/>
            <pc:sldMk cId="0" sldId="260"/>
            <ac:spMk id="11" creationId="{B7682CA8-DAF9-2489-E056-902E7E7FAEDE}"/>
          </ac:spMkLst>
        </pc:spChg>
        <pc:spChg chg="add del mod">
          <ac:chgData name="Ricardo Sérgio Souza e Sousa" userId="b2322a61-6b0f-42d2-a39f-a9a5f08999e4" providerId="ADAL" clId="{F7F79181-87BF-44AE-B828-0B657792DFE7}" dt="2022-05-02T11:38:54.512" v="4652" actId="478"/>
          <ac:spMkLst>
            <pc:docMk/>
            <pc:sldMk cId="0" sldId="260"/>
            <ac:spMk id="13" creationId="{44DFC9D2-E588-51E7-FE89-123AEE2E96BF}"/>
          </ac:spMkLst>
        </pc:spChg>
        <pc:spChg chg="add del mod">
          <ac:chgData name="Ricardo Sérgio Souza e Sousa" userId="b2322a61-6b0f-42d2-a39f-a9a5f08999e4" providerId="ADAL" clId="{F7F79181-87BF-44AE-B828-0B657792DFE7}" dt="2022-05-02T11:43:16.205" v="4962" actId="478"/>
          <ac:spMkLst>
            <pc:docMk/>
            <pc:sldMk cId="0" sldId="260"/>
            <ac:spMk id="14" creationId="{345E9338-A331-F2DD-FFC8-88EB9565C6D2}"/>
          </ac:spMkLst>
        </pc:spChg>
        <pc:spChg chg="add mod">
          <ac:chgData name="Ricardo Sérgio Souza e Sousa" userId="b2322a61-6b0f-42d2-a39f-a9a5f08999e4" providerId="ADAL" clId="{F7F79181-87BF-44AE-B828-0B657792DFE7}" dt="2022-05-02T11:43:18.832" v="4964"/>
          <ac:spMkLst>
            <pc:docMk/>
            <pc:sldMk cId="0" sldId="260"/>
            <ac:spMk id="15" creationId="{621D16A6-1992-D262-CC6E-5DF66FBFB8B8}"/>
          </ac:spMkLst>
        </pc:spChg>
        <pc:grpChg chg="mod">
          <ac:chgData name="Ricardo Sérgio Souza e Sousa" userId="b2322a61-6b0f-42d2-a39f-a9a5f08999e4" providerId="ADAL" clId="{F7F79181-87BF-44AE-B828-0B657792DFE7}" dt="2022-05-02T11:39:58.434" v="4728" actId="1038"/>
          <ac:grpSpMkLst>
            <pc:docMk/>
            <pc:sldMk cId="0" sldId="260"/>
            <ac:grpSpMk id="4" creationId="{00000000-0000-0000-0000-000000000000}"/>
          </ac:grpSpMkLst>
        </pc:grpChg>
        <pc:graphicFrameChg chg="add mod ord modVis replST">
          <ac:chgData name="Ricardo Sérgio Souza e Sousa" userId="b2322a61-6b0f-42d2-a39f-a9a5f08999e4" providerId="ADAL" clId="{F7F79181-87BF-44AE-B828-0B657792DFE7}" dt="2022-05-02T11:38:41.483" v="4629"/>
          <ac:graphicFrameMkLst>
            <pc:docMk/>
            <pc:sldMk cId="0" sldId="260"/>
            <ac:graphicFrameMk id="12" creationId="{932F95BB-CF38-2DA7-84A6-E7C718DFA68A}"/>
          </ac:graphicFrameMkLst>
        </pc:graphicFrameChg>
        <pc:picChg chg="del">
          <ac:chgData name="Ricardo Sérgio Souza e Sousa" userId="b2322a61-6b0f-42d2-a39f-a9a5f08999e4" providerId="ADAL" clId="{F7F79181-87BF-44AE-B828-0B657792DFE7}" dt="2022-05-02T11:38:28.875" v="4613" actId="478"/>
          <ac:picMkLst>
            <pc:docMk/>
            <pc:sldMk cId="0" sldId="260"/>
            <ac:picMk id="3" creationId="{00000000-0000-0000-0000-000000000000}"/>
          </ac:picMkLst>
        </pc:picChg>
      </pc:sldChg>
      <pc:sldChg chg="addSp delSp modSp add del mod modClrScheme chgLayout">
        <pc:chgData name="Ricardo Sérgio Souza e Sousa" userId="b2322a61-6b0f-42d2-a39f-a9a5f08999e4" providerId="ADAL" clId="{F7F79181-87BF-44AE-B828-0B657792DFE7}" dt="2022-05-02T11:43:25.997" v="4967"/>
        <pc:sldMkLst>
          <pc:docMk/>
          <pc:sldMk cId="0" sldId="261"/>
        </pc:sldMkLst>
        <pc:spChg chg="del mod ord">
          <ac:chgData name="Ricardo Sérgio Souza e Sousa" userId="b2322a61-6b0f-42d2-a39f-a9a5f08999e4" providerId="ADAL" clId="{F7F79181-87BF-44AE-B828-0B657792DFE7}" dt="2022-05-02T11:40:11.267" v="4748" actId="478"/>
          <ac:spMkLst>
            <pc:docMk/>
            <pc:sldMk cId="0" sldId="261"/>
            <ac:spMk id="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1:40:34.739" v="4765" actId="1036"/>
          <ac:spMkLst>
            <pc:docMk/>
            <pc:sldMk cId="0" sldId="261"/>
            <ac:spMk id="5" creationId="{00000000-0000-0000-0000-000000000000}"/>
          </ac:spMkLst>
        </pc:spChg>
        <pc:spChg chg="add del mod">
          <ac:chgData name="Ricardo Sérgio Souza e Sousa" userId="b2322a61-6b0f-42d2-a39f-a9a5f08999e4" providerId="ADAL" clId="{F7F79181-87BF-44AE-B828-0B657792DFE7}" dt="2022-05-02T11:43:25.193" v="4966" actId="478"/>
          <ac:spMkLst>
            <pc:docMk/>
            <pc:sldMk cId="0" sldId="261"/>
            <ac:spMk id="6" creationId="{F62C71BD-4437-FF31-C9B6-FB33BE35DA72}"/>
          </ac:spMkLst>
        </pc:spChg>
        <pc:spChg chg="add del mod">
          <ac:chgData name="Ricardo Sérgio Souza e Sousa" userId="b2322a61-6b0f-42d2-a39f-a9a5f08999e4" providerId="ADAL" clId="{F7F79181-87BF-44AE-B828-0B657792DFE7}" dt="2022-05-02T11:43:23.136" v="4965" actId="478"/>
          <ac:spMkLst>
            <pc:docMk/>
            <pc:sldMk cId="0" sldId="261"/>
            <ac:spMk id="8" creationId="{180340F3-B6F8-6142-85A9-9D3178922070}"/>
          </ac:spMkLst>
        </pc:spChg>
        <pc:spChg chg="add mod">
          <ac:chgData name="Ricardo Sérgio Souza e Sousa" userId="b2322a61-6b0f-42d2-a39f-a9a5f08999e4" providerId="ADAL" clId="{F7F79181-87BF-44AE-B828-0B657792DFE7}" dt="2022-05-02T11:43:25.997" v="4967"/>
          <ac:spMkLst>
            <pc:docMk/>
            <pc:sldMk cId="0" sldId="261"/>
            <ac:spMk id="9" creationId="{564D300C-4CE7-2671-1BE7-31A498924B69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5-02T11:40:11.802" v="4750"/>
          <ac:graphicFrameMkLst>
            <pc:docMk/>
            <pc:sldMk cId="0" sldId="261"/>
            <ac:graphicFrameMk id="7" creationId="{7F2E28BC-328C-AE85-7273-9FE914011A15}"/>
          </ac:graphicFrameMkLst>
        </pc:graphicFrameChg>
        <pc:picChg chg="del">
          <ac:chgData name="Ricardo Sérgio Souza e Sousa" userId="b2322a61-6b0f-42d2-a39f-a9a5f08999e4" providerId="ADAL" clId="{F7F79181-87BF-44AE-B828-0B657792DFE7}" dt="2022-05-02T11:40:20.880" v="4753" actId="478"/>
          <ac:picMkLst>
            <pc:docMk/>
            <pc:sldMk cId="0" sldId="261"/>
            <ac:picMk id="3" creationId="{00000000-0000-0000-0000-000000000000}"/>
          </ac:picMkLst>
        </pc:picChg>
        <pc:picChg chg="mod">
          <ac:chgData name="Ricardo Sérgio Souza e Sousa" userId="b2322a61-6b0f-42d2-a39f-a9a5f08999e4" providerId="ADAL" clId="{F7F79181-87BF-44AE-B828-0B657792DFE7}" dt="2022-05-02T11:40:39.598" v="4771" actId="1036"/>
          <ac:picMkLst>
            <pc:docMk/>
            <pc:sldMk cId="0" sldId="261"/>
            <ac:picMk id="4" creationId="{00000000-0000-0000-0000-000000000000}"/>
          </ac:picMkLst>
        </pc:picChg>
      </pc:sldChg>
      <pc:sldChg chg="addSp delSp modSp add del mod modClrScheme chgLayout">
        <pc:chgData name="Ricardo Sérgio Souza e Sousa" userId="b2322a61-6b0f-42d2-a39f-a9a5f08999e4" providerId="ADAL" clId="{F7F79181-87BF-44AE-B828-0B657792DFE7}" dt="2022-05-02T11:43:33.204" v="4970"/>
        <pc:sldMkLst>
          <pc:docMk/>
          <pc:sldMk cId="0" sldId="262"/>
        </pc:sldMkLst>
        <pc:spChg chg="del mod ord">
          <ac:chgData name="Ricardo Sérgio Souza e Sousa" userId="b2322a61-6b0f-42d2-a39f-a9a5f08999e4" providerId="ADAL" clId="{F7F79181-87BF-44AE-B828-0B657792DFE7}" dt="2022-05-02T11:40:49.035" v="4790" actId="478"/>
          <ac:spMkLst>
            <pc:docMk/>
            <pc:sldMk cId="0" sldId="262"/>
            <ac:spMk id="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1:41:06.345" v="4799" actId="255"/>
          <ac:spMkLst>
            <pc:docMk/>
            <pc:sldMk cId="0" sldId="262"/>
            <ac:spMk id="5" creationId="{00000000-0000-0000-0000-000000000000}"/>
          </ac:spMkLst>
        </pc:spChg>
        <pc:spChg chg="add del mod">
          <ac:chgData name="Ricardo Sérgio Souza e Sousa" userId="b2322a61-6b0f-42d2-a39f-a9a5f08999e4" providerId="ADAL" clId="{F7F79181-87BF-44AE-B828-0B657792DFE7}" dt="2022-05-02T11:43:32.840" v="4969" actId="478"/>
          <ac:spMkLst>
            <pc:docMk/>
            <pc:sldMk cId="0" sldId="262"/>
            <ac:spMk id="6" creationId="{2F44DB0A-69A4-A6C4-E90B-0D3B8D931E32}"/>
          </ac:spMkLst>
        </pc:spChg>
        <pc:spChg chg="add del mod">
          <ac:chgData name="Ricardo Sérgio Souza e Sousa" userId="b2322a61-6b0f-42d2-a39f-a9a5f08999e4" providerId="ADAL" clId="{F7F79181-87BF-44AE-B828-0B657792DFE7}" dt="2022-05-02T11:43:31.392" v="4968" actId="478"/>
          <ac:spMkLst>
            <pc:docMk/>
            <pc:sldMk cId="0" sldId="262"/>
            <ac:spMk id="8" creationId="{50C20CDF-BACB-3AEE-5323-F25F210C65A2}"/>
          </ac:spMkLst>
        </pc:spChg>
        <pc:spChg chg="add mod">
          <ac:chgData name="Ricardo Sérgio Souza e Sousa" userId="b2322a61-6b0f-42d2-a39f-a9a5f08999e4" providerId="ADAL" clId="{F7F79181-87BF-44AE-B828-0B657792DFE7}" dt="2022-05-02T11:43:33.204" v="4970"/>
          <ac:spMkLst>
            <pc:docMk/>
            <pc:sldMk cId="0" sldId="262"/>
            <ac:spMk id="9" creationId="{350C263D-44D8-1B95-18BC-8D9A990B76E5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5-02T11:40:49.557" v="4792"/>
          <ac:graphicFrameMkLst>
            <pc:docMk/>
            <pc:sldMk cId="0" sldId="262"/>
            <ac:graphicFrameMk id="7" creationId="{8FFA8CB1-7D5D-582D-FA47-DA30338EF843}"/>
          </ac:graphicFrameMkLst>
        </pc:graphicFrameChg>
        <pc:picChg chg="del">
          <ac:chgData name="Ricardo Sérgio Souza e Sousa" userId="b2322a61-6b0f-42d2-a39f-a9a5f08999e4" providerId="ADAL" clId="{F7F79181-87BF-44AE-B828-0B657792DFE7}" dt="2022-05-02T11:40:44.491" v="4788" actId="478"/>
          <ac:picMkLst>
            <pc:docMk/>
            <pc:sldMk cId="0" sldId="262"/>
            <ac:picMk id="3" creationId="{00000000-0000-0000-0000-000000000000}"/>
          </ac:picMkLst>
        </pc:picChg>
        <pc:picChg chg="mod">
          <ac:chgData name="Ricardo Sérgio Souza e Sousa" userId="b2322a61-6b0f-42d2-a39f-a9a5f08999e4" providerId="ADAL" clId="{F7F79181-87BF-44AE-B828-0B657792DFE7}" dt="2022-05-02T11:40:52.817" v="4793" actId="1076"/>
          <ac:picMkLst>
            <pc:docMk/>
            <pc:sldMk cId="0" sldId="262"/>
            <ac:picMk id="4" creationId="{00000000-0000-0000-0000-000000000000}"/>
          </ac:picMkLst>
        </pc:picChg>
      </pc:sldChg>
      <pc:sldChg chg="addSp delSp modSp add mod modClrScheme chgLayout">
        <pc:chgData name="Ricardo Sérgio Souza e Sousa" userId="b2322a61-6b0f-42d2-a39f-a9a5f08999e4" providerId="ADAL" clId="{F7F79181-87BF-44AE-B828-0B657792DFE7}" dt="2022-05-02T11:43:39.025" v="4973"/>
        <pc:sldMkLst>
          <pc:docMk/>
          <pc:sldMk cId="0" sldId="263"/>
        </pc:sldMkLst>
        <pc:spChg chg="del mod ord">
          <ac:chgData name="Ricardo Sérgio Souza e Sousa" userId="b2322a61-6b0f-42d2-a39f-a9a5f08999e4" providerId="ADAL" clId="{F7F79181-87BF-44AE-B828-0B657792DFE7}" dt="2022-05-02T11:41:15.622" v="4816" actId="478"/>
          <ac:spMkLst>
            <pc:docMk/>
            <pc:sldMk cId="0" sldId="263"/>
            <ac:spMk id="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1:41:36.837" v="4829" actId="1035"/>
          <ac:spMkLst>
            <pc:docMk/>
            <pc:sldMk cId="0" sldId="263"/>
            <ac:spMk id="5" creationId="{00000000-0000-0000-0000-000000000000}"/>
          </ac:spMkLst>
        </pc:spChg>
        <pc:spChg chg="add del mod">
          <ac:chgData name="Ricardo Sérgio Souza e Sousa" userId="b2322a61-6b0f-42d2-a39f-a9a5f08999e4" providerId="ADAL" clId="{F7F79181-87BF-44AE-B828-0B657792DFE7}" dt="2022-05-02T11:43:38.718" v="4972" actId="478"/>
          <ac:spMkLst>
            <pc:docMk/>
            <pc:sldMk cId="0" sldId="263"/>
            <ac:spMk id="6" creationId="{15D49F98-0B15-0EBD-C7DD-D93D7F029124}"/>
          </ac:spMkLst>
        </pc:spChg>
        <pc:spChg chg="add del mod">
          <ac:chgData name="Ricardo Sérgio Souza e Sousa" userId="b2322a61-6b0f-42d2-a39f-a9a5f08999e4" providerId="ADAL" clId="{F7F79181-87BF-44AE-B828-0B657792DFE7}" dt="2022-05-02T11:43:37.056" v="4971" actId="478"/>
          <ac:spMkLst>
            <pc:docMk/>
            <pc:sldMk cId="0" sldId="263"/>
            <ac:spMk id="8" creationId="{92A5C8C6-4CF8-082B-51EB-CCCE0EA599D6}"/>
          </ac:spMkLst>
        </pc:spChg>
        <pc:spChg chg="add mod">
          <ac:chgData name="Ricardo Sérgio Souza e Sousa" userId="b2322a61-6b0f-42d2-a39f-a9a5f08999e4" providerId="ADAL" clId="{F7F79181-87BF-44AE-B828-0B657792DFE7}" dt="2022-05-02T11:43:39.025" v="4973"/>
          <ac:spMkLst>
            <pc:docMk/>
            <pc:sldMk cId="0" sldId="263"/>
            <ac:spMk id="9" creationId="{54F835CA-4E2C-A85E-EA71-F220F6FE5FB8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5-02T11:41:16.134" v="4818"/>
          <ac:graphicFrameMkLst>
            <pc:docMk/>
            <pc:sldMk cId="0" sldId="263"/>
            <ac:graphicFrameMk id="7" creationId="{CCA2DC6C-FB3D-0731-F7AE-B993AD4A0A61}"/>
          </ac:graphicFrameMkLst>
        </pc:graphicFrameChg>
        <pc:picChg chg="del">
          <ac:chgData name="Ricardo Sérgio Souza e Sousa" userId="b2322a61-6b0f-42d2-a39f-a9a5f08999e4" providerId="ADAL" clId="{F7F79181-87BF-44AE-B828-0B657792DFE7}" dt="2022-05-02T11:41:17.395" v="4819" actId="478"/>
          <ac:picMkLst>
            <pc:docMk/>
            <pc:sldMk cId="0" sldId="263"/>
            <ac:picMk id="3" creationId="{00000000-0000-0000-0000-000000000000}"/>
          </ac:picMkLst>
        </pc:picChg>
        <pc:picChg chg="mod">
          <ac:chgData name="Ricardo Sérgio Souza e Sousa" userId="b2322a61-6b0f-42d2-a39f-a9a5f08999e4" providerId="ADAL" clId="{F7F79181-87BF-44AE-B828-0B657792DFE7}" dt="2022-05-02T11:41:21.082" v="4821" actId="1076"/>
          <ac:picMkLst>
            <pc:docMk/>
            <pc:sldMk cId="0" sldId="263"/>
            <ac:picMk id="4" creationId="{00000000-0000-0000-0000-000000000000}"/>
          </ac:picMkLst>
        </pc:picChg>
      </pc:sldChg>
      <pc:sldChg chg="addSp delSp modSp add del mod modClrScheme chgLayout">
        <pc:chgData name="Ricardo Sérgio Souza e Sousa" userId="b2322a61-6b0f-42d2-a39f-a9a5f08999e4" providerId="ADAL" clId="{F7F79181-87BF-44AE-B828-0B657792DFE7}" dt="2022-05-02T11:43:54.033" v="4992" actId="14100"/>
        <pc:sldMkLst>
          <pc:docMk/>
          <pc:sldMk cId="0" sldId="264"/>
        </pc:sldMkLst>
        <pc:spChg chg="del mod ord">
          <ac:chgData name="Ricardo Sérgio Souza e Sousa" userId="b2322a61-6b0f-42d2-a39f-a9a5f08999e4" providerId="ADAL" clId="{F7F79181-87BF-44AE-B828-0B657792DFE7}" dt="2022-05-02T11:41:44.084" v="4846" actId="478"/>
          <ac:spMkLst>
            <pc:docMk/>
            <pc:sldMk cId="0" sldId="264"/>
            <ac:spMk id="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1:43:54.033" v="4992" actId="14100"/>
          <ac:spMkLst>
            <pc:docMk/>
            <pc:sldMk cId="0" sldId="264"/>
            <ac:spMk id="3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1:43:50.067" v="4991" actId="20577"/>
          <ac:spMkLst>
            <pc:docMk/>
            <pc:sldMk cId="0" sldId="264"/>
            <ac:spMk id="5" creationId="{B977AF06-5E10-EBE7-5E2E-4B40BDBF4FC6}"/>
          </ac:spMkLst>
        </pc:spChg>
        <pc:spChg chg="add del mod">
          <ac:chgData name="Ricardo Sérgio Souza e Sousa" userId="b2322a61-6b0f-42d2-a39f-a9a5f08999e4" providerId="ADAL" clId="{F7F79181-87BF-44AE-B828-0B657792DFE7}" dt="2022-05-02T11:43:43.542" v="4974" actId="478"/>
          <ac:spMkLst>
            <pc:docMk/>
            <pc:sldMk cId="0" sldId="264"/>
            <ac:spMk id="7" creationId="{3A57A768-7F77-AE9A-652F-379ABDCEE52A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5-02T11:41:44.600" v="4849"/>
          <ac:graphicFrameMkLst>
            <pc:docMk/>
            <pc:sldMk cId="0" sldId="264"/>
            <ac:graphicFrameMk id="6" creationId="{DE0C0FA6-100B-74E0-A032-5BB9E3AB6D82}"/>
          </ac:graphicFrameMkLst>
        </pc:graphicFrameChg>
        <pc:picChg chg="del">
          <ac:chgData name="Ricardo Sérgio Souza e Sousa" userId="b2322a61-6b0f-42d2-a39f-a9a5f08999e4" providerId="ADAL" clId="{F7F79181-87BF-44AE-B828-0B657792DFE7}" dt="2022-05-02T11:42:03.950" v="4871" actId="478"/>
          <ac:picMkLst>
            <pc:docMk/>
            <pc:sldMk cId="0" sldId="264"/>
            <ac:picMk id="4" creationId="{00000000-0000-0000-0000-000000000000}"/>
          </ac:picMkLst>
        </pc:picChg>
      </pc:sldChg>
      <pc:sldChg chg="addSp delSp modSp add mod modClrScheme chgLayout">
        <pc:chgData name="Ricardo Sérgio Souza e Sousa" userId="b2322a61-6b0f-42d2-a39f-a9a5f08999e4" providerId="ADAL" clId="{F7F79181-87BF-44AE-B828-0B657792DFE7}" dt="2022-05-02T11:44:45.841" v="5033" actId="14100"/>
        <pc:sldMkLst>
          <pc:docMk/>
          <pc:sldMk cId="0" sldId="265"/>
        </pc:sldMkLst>
        <pc:spChg chg="del mod ord">
          <ac:chgData name="Ricardo Sérgio Souza e Sousa" userId="b2322a61-6b0f-42d2-a39f-a9a5f08999e4" providerId="ADAL" clId="{F7F79181-87BF-44AE-B828-0B657792DFE7}" dt="2022-05-02T11:42:31.337" v="4892" actId="478"/>
          <ac:spMkLst>
            <pc:docMk/>
            <pc:sldMk cId="0" sldId="265"/>
            <ac:spMk id="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1:44:45.841" v="5033" actId="14100"/>
          <ac:spMkLst>
            <pc:docMk/>
            <pc:sldMk cId="0" sldId="265"/>
            <ac:spMk id="4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1:44:03.340" v="5014" actId="20577"/>
          <ac:spMkLst>
            <pc:docMk/>
            <pc:sldMk cId="0" sldId="265"/>
            <ac:spMk id="6" creationId="{C059C55C-AA26-BA46-4965-BFD5DD68AB79}"/>
          </ac:spMkLst>
        </pc:spChg>
        <pc:spChg chg="add del mod">
          <ac:chgData name="Ricardo Sérgio Souza e Sousa" userId="b2322a61-6b0f-42d2-a39f-a9a5f08999e4" providerId="ADAL" clId="{F7F79181-87BF-44AE-B828-0B657792DFE7}" dt="2022-05-02T11:44:06.061" v="5015" actId="478"/>
          <ac:spMkLst>
            <pc:docMk/>
            <pc:sldMk cId="0" sldId="265"/>
            <ac:spMk id="8" creationId="{F895BA8C-0AA2-CF00-CFE1-6E5FD588E7D0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5-02T11:42:31.844" v="4894"/>
          <ac:graphicFrameMkLst>
            <pc:docMk/>
            <pc:sldMk cId="0" sldId="265"/>
            <ac:graphicFrameMk id="7" creationId="{359B9ACD-476C-9600-37F1-25C12AF047D3}"/>
          </ac:graphicFrameMkLst>
        </pc:graphicFrameChg>
        <pc:picChg chg="mod">
          <ac:chgData name="Ricardo Sérgio Souza e Sousa" userId="b2322a61-6b0f-42d2-a39f-a9a5f08999e4" providerId="ADAL" clId="{F7F79181-87BF-44AE-B828-0B657792DFE7}" dt="2022-05-02T11:44:27.367" v="5027" actId="1076"/>
          <ac:picMkLst>
            <pc:docMk/>
            <pc:sldMk cId="0" sldId="265"/>
            <ac:picMk id="3" creationId="{00000000-0000-0000-0000-000000000000}"/>
          </ac:picMkLst>
        </pc:picChg>
        <pc:picChg chg="del">
          <ac:chgData name="Ricardo Sérgio Souza e Sousa" userId="b2322a61-6b0f-42d2-a39f-a9a5f08999e4" providerId="ADAL" clId="{F7F79181-87BF-44AE-B828-0B657792DFE7}" dt="2022-05-02T11:44:38.287" v="5032" actId="478"/>
          <ac:picMkLst>
            <pc:docMk/>
            <pc:sldMk cId="0" sldId="265"/>
            <ac:picMk id="5" creationId="{00000000-0000-0000-0000-000000000000}"/>
          </ac:picMkLst>
        </pc:picChg>
      </pc:sldChg>
      <pc:sldChg chg="addSp delSp modSp add mod modClrScheme chgLayout">
        <pc:chgData name="Ricardo Sérgio Souza e Sousa" userId="b2322a61-6b0f-42d2-a39f-a9a5f08999e4" providerId="ADAL" clId="{F7F79181-87BF-44AE-B828-0B657792DFE7}" dt="2022-05-02T11:48:42.398" v="5239" actId="14100"/>
        <pc:sldMkLst>
          <pc:docMk/>
          <pc:sldMk cId="0" sldId="266"/>
        </pc:sldMkLst>
        <pc:spChg chg="del mod ord">
          <ac:chgData name="Ricardo Sérgio Souza e Sousa" userId="b2322a61-6b0f-42d2-a39f-a9a5f08999e4" providerId="ADAL" clId="{F7F79181-87BF-44AE-B828-0B657792DFE7}" dt="2022-05-02T11:45:21.400" v="5089" actId="478"/>
          <ac:spMkLst>
            <pc:docMk/>
            <pc:sldMk cId="0" sldId="266"/>
            <ac:spMk id="2" creationId="{00000000-0000-0000-0000-000000000000}"/>
          </ac:spMkLst>
        </pc:spChg>
        <pc:spChg chg="mod ord">
          <ac:chgData name="Ricardo Sérgio Souza e Sousa" userId="b2322a61-6b0f-42d2-a39f-a9a5f08999e4" providerId="ADAL" clId="{F7F79181-87BF-44AE-B828-0B657792DFE7}" dt="2022-05-02T11:48:42.398" v="5239" actId="14100"/>
          <ac:spMkLst>
            <pc:docMk/>
            <pc:sldMk cId="0" sldId="266"/>
            <ac:spMk id="3" creationId="{00000000-0000-0000-0000-000000000000}"/>
          </ac:spMkLst>
        </pc:spChg>
        <pc:spChg chg="add mod ord">
          <ac:chgData name="Ricardo Sérgio Souza e Sousa" userId="b2322a61-6b0f-42d2-a39f-a9a5f08999e4" providerId="ADAL" clId="{F7F79181-87BF-44AE-B828-0B657792DFE7}" dt="2022-05-02T11:46:41.167" v="5154"/>
          <ac:spMkLst>
            <pc:docMk/>
            <pc:sldMk cId="0" sldId="266"/>
            <ac:spMk id="6" creationId="{E98BC84F-4E88-E706-117E-BAA1EEAEC602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5-02T11:46:41.168" v="5156"/>
          <ac:graphicFrameMkLst>
            <pc:docMk/>
            <pc:sldMk cId="0" sldId="266"/>
            <ac:graphicFrameMk id="7" creationId="{C4BB3709-E7FF-F12B-0133-8A3ED28E341A}"/>
          </ac:graphicFrameMkLst>
        </pc:graphicFrameChg>
        <pc:picChg chg="mod ord">
          <ac:chgData name="Ricardo Sérgio Souza e Sousa" userId="b2322a61-6b0f-42d2-a39f-a9a5f08999e4" providerId="ADAL" clId="{F7F79181-87BF-44AE-B828-0B657792DFE7}" dt="2022-05-02T11:46:43.084" v="5157" actId="1076"/>
          <ac:picMkLst>
            <pc:docMk/>
            <pc:sldMk cId="0" sldId="266"/>
            <ac:picMk id="4" creationId="{00000000-0000-0000-0000-000000000000}"/>
          </ac:picMkLst>
        </pc:picChg>
        <pc:picChg chg="del">
          <ac:chgData name="Ricardo Sérgio Souza e Sousa" userId="b2322a61-6b0f-42d2-a39f-a9a5f08999e4" providerId="ADAL" clId="{F7F79181-87BF-44AE-B828-0B657792DFE7}" dt="2022-05-02T11:45:30.366" v="5095" actId="478"/>
          <ac:picMkLst>
            <pc:docMk/>
            <pc:sldMk cId="0" sldId="266"/>
            <ac:picMk id="5" creationId="{00000000-0000-0000-0000-000000000000}"/>
          </ac:picMkLst>
        </pc:picChg>
      </pc:sldChg>
      <pc:sldChg chg="addSp delSp modSp add mod modClrScheme chgLayout">
        <pc:chgData name="Ricardo Sérgio Souza e Sousa" userId="b2322a61-6b0f-42d2-a39f-a9a5f08999e4" providerId="ADAL" clId="{F7F79181-87BF-44AE-B828-0B657792DFE7}" dt="2022-05-02T11:49:49.735" v="5307" actId="1076"/>
        <pc:sldMkLst>
          <pc:docMk/>
          <pc:sldMk cId="0" sldId="267"/>
        </pc:sldMkLst>
        <pc:spChg chg="del mod ord">
          <ac:chgData name="Ricardo Sérgio Souza e Sousa" userId="b2322a61-6b0f-42d2-a39f-a9a5f08999e4" providerId="ADAL" clId="{F7F79181-87BF-44AE-B828-0B657792DFE7}" dt="2022-05-02T11:49:12.304" v="5274" actId="478"/>
          <ac:spMkLst>
            <pc:docMk/>
            <pc:sldMk cId="0" sldId="267"/>
            <ac:spMk id="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1:49:41.238" v="5305" actId="14100"/>
          <ac:spMkLst>
            <pc:docMk/>
            <pc:sldMk cId="0" sldId="267"/>
            <ac:spMk id="3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1:49:16.545" v="5292" actId="20577"/>
          <ac:spMkLst>
            <pc:docMk/>
            <pc:sldMk cId="0" sldId="267"/>
            <ac:spMk id="6" creationId="{6E026E42-C30F-B383-2ED7-3F157FD3D69E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5-02T11:49:12.808" v="5276"/>
          <ac:graphicFrameMkLst>
            <pc:docMk/>
            <pc:sldMk cId="0" sldId="267"/>
            <ac:graphicFrameMk id="7" creationId="{BFDF56C8-9C38-5EE4-1ADF-2FA2A2D75CAE}"/>
          </ac:graphicFrameMkLst>
        </pc:graphicFrameChg>
        <pc:picChg chg="mod">
          <ac:chgData name="Ricardo Sérgio Souza e Sousa" userId="b2322a61-6b0f-42d2-a39f-a9a5f08999e4" providerId="ADAL" clId="{F7F79181-87BF-44AE-B828-0B657792DFE7}" dt="2022-05-02T11:49:49.735" v="5307" actId="1076"/>
          <ac:picMkLst>
            <pc:docMk/>
            <pc:sldMk cId="0" sldId="267"/>
            <ac:picMk id="4" creationId="{00000000-0000-0000-0000-000000000000}"/>
          </ac:picMkLst>
        </pc:picChg>
        <pc:picChg chg="del">
          <ac:chgData name="Ricardo Sérgio Souza e Sousa" userId="b2322a61-6b0f-42d2-a39f-a9a5f08999e4" providerId="ADAL" clId="{F7F79181-87BF-44AE-B828-0B657792DFE7}" dt="2022-05-02T11:49:38.110" v="5304" actId="478"/>
          <ac:picMkLst>
            <pc:docMk/>
            <pc:sldMk cId="0" sldId="267"/>
            <ac:picMk id="5" creationId="{00000000-0000-0000-0000-000000000000}"/>
          </ac:picMkLst>
        </pc:picChg>
      </pc:sldChg>
      <pc:sldChg chg="addSp delSp modSp add mod modClrScheme chgLayout">
        <pc:chgData name="Ricardo Sérgio Souza e Sousa" userId="b2322a61-6b0f-42d2-a39f-a9a5f08999e4" providerId="ADAL" clId="{F7F79181-87BF-44AE-B828-0B657792DFE7}" dt="2022-05-02T11:52:29.785" v="5460" actId="1076"/>
        <pc:sldMkLst>
          <pc:docMk/>
          <pc:sldMk cId="0" sldId="268"/>
        </pc:sldMkLst>
        <pc:spChg chg="del mod ord">
          <ac:chgData name="Ricardo Sérgio Souza e Sousa" userId="b2322a61-6b0f-42d2-a39f-a9a5f08999e4" providerId="ADAL" clId="{F7F79181-87BF-44AE-B828-0B657792DFE7}" dt="2022-05-02T11:51:11.762" v="5340" actId="478"/>
          <ac:spMkLst>
            <pc:docMk/>
            <pc:sldMk cId="0" sldId="268"/>
            <ac:spMk id="2" creationId="{00000000-0000-0000-0000-000000000000}"/>
          </ac:spMkLst>
        </pc:spChg>
        <pc:spChg chg="mod topLvl">
          <ac:chgData name="Ricardo Sérgio Souza e Sousa" userId="b2322a61-6b0f-42d2-a39f-a9a5f08999e4" providerId="ADAL" clId="{F7F79181-87BF-44AE-B828-0B657792DFE7}" dt="2022-05-02T11:51:29.187" v="5345" actId="165"/>
          <ac:spMkLst>
            <pc:docMk/>
            <pc:sldMk cId="0" sldId="268"/>
            <ac:spMk id="7" creationId="{00000000-0000-0000-0000-000000000000}"/>
          </ac:spMkLst>
        </pc:spChg>
        <pc:spChg chg="mod topLvl">
          <ac:chgData name="Ricardo Sérgio Souza e Sousa" userId="b2322a61-6b0f-42d2-a39f-a9a5f08999e4" providerId="ADAL" clId="{F7F79181-87BF-44AE-B828-0B657792DFE7}" dt="2022-05-02T11:51:29.187" v="5345" actId="165"/>
          <ac:spMkLst>
            <pc:docMk/>
            <pc:sldMk cId="0" sldId="268"/>
            <ac:spMk id="8" creationId="{00000000-0000-0000-0000-000000000000}"/>
          </ac:spMkLst>
        </pc:spChg>
        <pc:spChg chg="mod topLvl">
          <ac:chgData name="Ricardo Sérgio Souza e Sousa" userId="b2322a61-6b0f-42d2-a39f-a9a5f08999e4" providerId="ADAL" clId="{F7F79181-87BF-44AE-B828-0B657792DFE7}" dt="2022-05-02T11:51:29.187" v="5345" actId="165"/>
          <ac:spMkLst>
            <pc:docMk/>
            <pc:sldMk cId="0" sldId="268"/>
            <ac:spMk id="9" creationId="{00000000-0000-0000-0000-000000000000}"/>
          </ac:spMkLst>
        </pc:spChg>
        <pc:spChg chg="mod topLvl">
          <ac:chgData name="Ricardo Sérgio Souza e Sousa" userId="b2322a61-6b0f-42d2-a39f-a9a5f08999e4" providerId="ADAL" clId="{F7F79181-87BF-44AE-B828-0B657792DFE7}" dt="2022-05-02T11:51:29.187" v="5345" actId="165"/>
          <ac:spMkLst>
            <pc:docMk/>
            <pc:sldMk cId="0" sldId="268"/>
            <ac:spMk id="11" creationId="{00000000-0000-0000-0000-000000000000}"/>
          </ac:spMkLst>
        </pc:spChg>
        <pc:spChg chg="mod topLvl">
          <ac:chgData name="Ricardo Sérgio Souza e Sousa" userId="b2322a61-6b0f-42d2-a39f-a9a5f08999e4" providerId="ADAL" clId="{F7F79181-87BF-44AE-B828-0B657792DFE7}" dt="2022-05-02T11:51:29.187" v="5345" actId="165"/>
          <ac:spMkLst>
            <pc:docMk/>
            <pc:sldMk cId="0" sldId="268"/>
            <ac:spMk id="12" creationId="{00000000-0000-0000-0000-000000000000}"/>
          </ac:spMkLst>
        </pc:spChg>
        <pc:spChg chg="mod topLvl">
          <ac:chgData name="Ricardo Sérgio Souza e Sousa" userId="b2322a61-6b0f-42d2-a39f-a9a5f08999e4" providerId="ADAL" clId="{F7F79181-87BF-44AE-B828-0B657792DFE7}" dt="2022-05-02T11:51:29.187" v="5345" actId="165"/>
          <ac:spMkLst>
            <pc:docMk/>
            <pc:sldMk cId="0" sldId="268"/>
            <ac:spMk id="13" creationId="{00000000-0000-0000-0000-000000000000}"/>
          </ac:spMkLst>
        </pc:spChg>
        <pc:spChg chg="mod topLvl">
          <ac:chgData name="Ricardo Sérgio Souza e Sousa" userId="b2322a61-6b0f-42d2-a39f-a9a5f08999e4" providerId="ADAL" clId="{F7F79181-87BF-44AE-B828-0B657792DFE7}" dt="2022-05-02T11:51:29.187" v="5345" actId="165"/>
          <ac:spMkLst>
            <pc:docMk/>
            <pc:sldMk cId="0" sldId="268"/>
            <ac:spMk id="14" creationId="{00000000-0000-0000-0000-000000000000}"/>
          </ac:spMkLst>
        </pc:spChg>
        <pc:spChg chg="mod topLvl">
          <ac:chgData name="Ricardo Sérgio Souza e Sousa" userId="b2322a61-6b0f-42d2-a39f-a9a5f08999e4" providerId="ADAL" clId="{F7F79181-87BF-44AE-B828-0B657792DFE7}" dt="2022-05-02T11:51:29.187" v="5345" actId="165"/>
          <ac:spMkLst>
            <pc:docMk/>
            <pc:sldMk cId="0" sldId="268"/>
            <ac:spMk id="16" creationId="{00000000-0000-0000-0000-000000000000}"/>
          </ac:spMkLst>
        </pc:spChg>
        <pc:spChg chg="mod topLvl">
          <ac:chgData name="Ricardo Sérgio Souza e Sousa" userId="b2322a61-6b0f-42d2-a39f-a9a5f08999e4" providerId="ADAL" clId="{F7F79181-87BF-44AE-B828-0B657792DFE7}" dt="2022-05-02T11:51:29.187" v="5345" actId="165"/>
          <ac:spMkLst>
            <pc:docMk/>
            <pc:sldMk cId="0" sldId="268"/>
            <ac:spMk id="19" creationId="{00000000-0000-0000-0000-000000000000}"/>
          </ac:spMkLst>
        </pc:spChg>
        <pc:spChg chg="del mod">
          <ac:chgData name="Ricardo Sérgio Souza e Sousa" userId="b2322a61-6b0f-42d2-a39f-a9a5f08999e4" providerId="ADAL" clId="{F7F79181-87BF-44AE-B828-0B657792DFE7}" dt="2022-05-02T11:51:36.103" v="5348" actId="478"/>
          <ac:spMkLst>
            <pc:docMk/>
            <pc:sldMk cId="0" sldId="268"/>
            <ac:spMk id="20" creationId="{00000000-0000-0000-0000-000000000000}"/>
          </ac:spMkLst>
        </pc:spChg>
        <pc:spChg chg="del mod">
          <ac:chgData name="Ricardo Sérgio Souza e Sousa" userId="b2322a61-6b0f-42d2-a39f-a9a5f08999e4" providerId="ADAL" clId="{F7F79181-87BF-44AE-B828-0B657792DFE7}" dt="2022-05-02T11:51:42.730" v="5350" actId="478"/>
          <ac:spMkLst>
            <pc:docMk/>
            <pc:sldMk cId="0" sldId="268"/>
            <ac:spMk id="21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1:52:25.247" v="5459" actId="20577"/>
          <ac:spMkLst>
            <pc:docMk/>
            <pc:sldMk cId="0" sldId="268"/>
            <ac:spMk id="22" creationId="{2EAA73FE-FF01-DDC9-EE88-73F28A5386EC}"/>
          </ac:spMkLst>
        </pc:spChg>
        <pc:grpChg chg="add del mod">
          <ac:chgData name="Ricardo Sérgio Souza e Sousa" userId="b2322a61-6b0f-42d2-a39f-a9a5f08999e4" providerId="ADAL" clId="{F7F79181-87BF-44AE-B828-0B657792DFE7}" dt="2022-05-02T11:52:29.785" v="5460" actId="1076"/>
          <ac:grpSpMkLst>
            <pc:docMk/>
            <pc:sldMk cId="0" sldId="268"/>
            <ac:grpSpMk id="4" creationId="{00000000-0000-0000-0000-000000000000}"/>
          </ac:grpSpMkLst>
        </pc:grpChg>
        <pc:graphicFrameChg chg="add mod ord modVis replST">
          <ac:chgData name="Ricardo Sérgio Souza e Sousa" userId="b2322a61-6b0f-42d2-a39f-a9a5f08999e4" providerId="ADAL" clId="{F7F79181-87BF-44AE-B828-0B657792DFE7}" dt="2022-05-02T11:51:12.284" v="5342"/>
          <ac:graphicFrameMkLst>
            <pc:docMk/>
            <pc:sldMk cId="0" sldId="268"/>
            <ac:graphicFrameMk id="23" creationId="{40180B3A-244F-973D-63BA-B8A36111C980}"/>
          </ac:graphicFrameMkLst>
        </pc:graphicFrameChg>
        <pc:picChg chg="del">
          <ac:chgData name="Ricardo Sérgio Souza e Sousa" userId="b2322a61-6b0f-42d2-a39f-a9a5f08999e4" providerId="ADAL" clId="{F7F79181-87BF-44AE-B828-0B657792DFE7}" dt="2022-05-02T11:51:15.170" v="5343" actId="478"/>
          <ac:picMkLst>
            <pc:docMk/>
            <pc:sldMk cId="0" sldId="268"/>
            <ac:picMk id="3" creationId="{00000000-0000-0000-0000-000000000000}"/>
          </ac:picMkLst>
        </pc:picChg>
        <pc:picChg chg="mod topLvl">
          <ac:chgData name="Ricardo Sérgio Souza e Sousa" userId="b2322a61-6b0f-42d2-a39f-a9a5f08999e4" providerId="ADAL" clId="{F7F79181-87BF-44AE-B828-0B657792DFE7}" dt="2022-05-02T11:51:29.187" v="5345" actId="165"/>
          <ac:picMkLst>
            <pc:docMk/>
            <pc:sldMk cId="0" sldId="268"/>
            <ac:picMk id="5" creationId="{00000000-0000-0000-0000-000000000000}"/>
          </ac:picMkLst>
        </pc:picChg>
        <pc:picChg chg="mod topLvl">
          <ac:chgData name="Ricardo Sérgio Souza e Sousa" userId="b2322a61-6b0f-42d2-a39f-a9a5f08999e4" providerId="ADAL" clId="{F7F79181-87BF-44AE-B828-0B657792DFE7}" dt="2022-05-02T11:51:29.187" v="5345" actId="165"/>
          <ac:picMkLst>
            <pc:docMk/>
            <pc:sldMk cId="0" sldId="268"/>
            <ac:picMk id="6" creationId="{00000000-0000-0000-0000-000000000000}"/>
          </ac:picMkLst>
        </pc:picChg>
        <pc:picChg chg="mod topLvl">
          <ac:chgData name="Ricardo Sérgio Souza e Sousa" userId="b2322a61-6b0f-42d2-a39f-a9a5f08999e4" providerId="ADAL" clId="{F7F79181-87BF-44AE-B828-0B657792DFE7}" dt="2022-05-02T11:51:29.187" v="5345" actId="165"/>
          <ac:picMkLst>
            <pc:docMk/>
            <pc:sldMk cId="0" sldId="268"/>
            <ac:picMk id="10" creationId="{00000000-0000-0000-0000-000000000000}"/>
          </ac:picMkLst>
        </pc:picChg>
        <pc:picChg chg="mod topLvl">
          <ac:chgData name="Ricardo Sérgio Souza e Sousa" userId="b2322a61-6b0f-42d2-a39f-a9a5f08999e4" providerId="ADAL" clId="{F7F79181-87BF-44AE-B828-0B657792DFE7}" dt="2022-05-02T11:51:29.187" v="5345" actId="165"/>
          <ac:picMkLst>
            <pc:docMk/>
            <pc:sldMk cId="0" sldId="268"/>
            <ac:picMk id="15" creationId="{00000000-0000-0000-0000-000000000000}"/>
          </ac:picMkLst>
        </pc:picChg>
        <pc:picChg chg="mod topLvl">
          <ac:chgData name="Ricardo Sérgio Souza e Sousa" userId="b2322a61-6b0f-42d2-a39f-a9a5f08999e4" providerId="ADAL" clId="{F7F79181-87BF-44AE-B828-0B657792DFE7}" dt="2022-05-02T11:51:29.187" v="5345" actId="165"/>
          <ac:picMkLst>
            <pc:docMk/>
            <pc:sldMk cId="0" sldId="268"/>
            <ac:picMk id="17" creationId="{00000000-0000-0000-0000-000000000000}"/>
          </ac:picMkLst>
        </pc:picChg>
        <pc:picChg chg="mod topLvl">
          <ac:chgData name="Ricardo Sérgio Souza e Sousa" userId="b2322a61-6b0f-42d2-a39f-a9a5f08999e4" providerId="ADAL" clId="{F7F79181-87BF-44AE-B828-0B657792DFE7}" dt="2022-05-02T11:51:29.187" v="5345" actId="165"/>
          <ac:picMkLst>
            <pc:docMk/>
            <pc:sldMk cId="0" sldId="268"/>
            <ac:picMk id="18" creationId="{00000000-0000-0000-0000-000000000000}"/>
          </ac:picMkLst>
        </pc:picChg>
      </pc:sldChg>
      <pc:sldChg chg="addSp modSp add del mod modClrScheme chgLayout">
        <pc:chgData name="Ricardo Sérgio Souza e Sousa" userId="b2322a61-6b0f-42d2-a39f-a9a5f08999e4" providerId="ADAL" clId="{F7F79181-87BF-44AE-B828-0B657792DFE7}" dt="2022-05-02T11:51:45.591" v="5351" actId="47"/>
        <pc:sldMkLst>
          <pc:docMk/>
          <pc:sldMk cId="0" sldId="269"/>
        </pc:sldMkLst>
        <pc:spChg chg="mod ord">
          <ac:chgData name="Ricardo Sérgio Souza e Sousa" userId="b2322a61-6b0f-42d2-a39f-a9a5f08999e4" providerId="ADAL" clId="{F7F79181-87BF-44AE-B828-0B657792DFE7}" dt="2022-05-02T11:32:26.998" v="4433"/>
          <ac:spMkLst>
            <pc:docMk/>
            <pc:sldMk cId="0" sldId="269"/>
            <ac:spMk id="2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1:31:53.828" v="4389"/>
          <ac:spMkLst>
            <pc:docMk/>
            <pc:sldMk cId="0" sldId="269"/>
            <ac:spMk id="6" creationId="{15E19D04-BF20-D9B1-29A6-84E536770D1C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5-02T11:50:09.304" v="5339"/>
          <ac:graphicFrameMkLst>
            <pc:docMk/>
            <pc:sldMk cId="0" sldId="269"/>
            <ac:graphicFrameMk id="7" creationId="{DEEF54FA-6ABB-E229-EFCB-307B1453B268}"/>
          </ac:graphicFrameMkLst>
        </pc:graphicFrameChg>
      </pc:sldChg>
      <pc:sldChg chg="addSp modSp add del mod modClrScheme chgLayout">
        <pc:chgData name="Ricardo Sérgio Souza e Sousa" userId="b2322a61-6b0f-42d2-a39f-a9a5f08999e4" providerId="ADAL" clId="{F7F79181-87BF-44AE-B828-0B657792DFE7}" dt="2022-05-02T11:51:47.189" v="5368" actId="47"/>
        <pc:sldMkLst>
          <pc:docMk/>
          <pc:sldMk cId="0" sldId="270"/>
        </pc:sldMkLst>
        <pc:spChg chg="mod ord">
          <ac:chgData name="Ricardo Sérgio Souza e Sousa" userId="b2322a61-6b0f-42d2-a39f-a9a5f08999e4" providerId="ADAL" clId="{F7F79181-87BF-44AE-B828-0B657792DFE7}" dt="2022-05-02T11:32:26.998" v="4433"/>
          <ac:spMkLst>
            <pc:docMk/>
            <pc:sldMk cId="0" sldId="270"/>
            <ac:spMk id="9" creationId="{00000000-0000-0000-0000-000000000000}"/>
          </ac:spMkLst>
        </pc:spChg>
        <pc:spChg chg="mod ord">
          <ac:chgData name="Ricardo Sérgio Souza e Sousa" userId="b2322a61-6b0f-42d2-a39f-a9a5f08999e4" providerId="ADAL" clId="{F7F79181-87BF-44AE-B828-0B657792DFE7}" dt="2022-05-02T11:32:26.998" v="4433"/>
          <ac:spMkLst>
            <pc:docMk/>
            <pc:sldMk cId="0" sldId="270"/>
            <ac:spMk id="42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1:31:55.233" v="4390"/>
          <ac:spMkLst>
            <pc:docMk/>
            <pc:sldMk cId="0" sldId="270"/>
            <ac:spMk id="44" creationId="{C42BC849-2BAF-566E-ECCF-EA8848428CD4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5-02T11:51:46.149" v="5367"/>
          <ac:graphicFrameMkLst>
            <pc:docMk/>
            <pc:sldMk cId="0" sldId="270"/>
            <ac:graphicFrameMk id="45" creationId="{B23E51C6-6451-3800-E172-17F24C29EA9F}"/>
          </ac:graphicFrameMkLst>
        </pc:graphicFrameChg>
      </pc:sldChg>
      <pc:sldChg chg="addSp modSp add del mod modClrScheme chgLayout">
        <pc:chgData name="Ricardo Sérgio Souza e Sousa" userId="b2322a61-6b0f-42d2-a39f-a9a5f08999e4" providerId="ADAL" clId="{F7F79181-87BF-44AE-B828-0B657792DFE7}" dt="2022-05-02T11:51:51.871" v="5385" actId="47"/>
        <pc:sldMkLst>
          <pc:docMk/>
          <pc:sldMk cId="0" sldId="271"/>
        </pc:sldMkLst>
        <pc:spChg chg="mod ord">
          <ac:chgData name="Ricardo Sérgio Souza e Sousa" userId="b2322a61-6b0f-42d2-a39f-a9a5f08999e4" providerId="ADAL" clId="{F7F79181-87BF-44AE-B828-0B657792DFE7}" dt="2022-05-02T11:32:26.998" v="4433"/>
          <ac:spMkLst>
            <pc:docMk/>
            <pc:sldMk cId="0" sldId="271"/>
            <ac:spMk id="2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1:31:56.931" v="4391"/>
          <ac:spMkLst>
            <pc:docMk/>
            <pc:sldMk cId="0" sldId="271"/>
            <ac:spMk id="11" creationId="{E57F3331-8E73-F78B-69AD-B6F073416BCC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5-02T11:51:47.732" v="5384"/>
          <ac:graphicFrameMkLst>
            <pc:docMk/>
            <pc:sldMk cId="0" sldId="271"/>
            <ac:graphicFrameMk id="12" creationId="{1406E8A6-4AEC-5B1C-F384-5FF43074C176}"/>
          </ac:graphicFrameMkLst>
        </pc:graphicFrameChg>
      </pc:sldChg>
      <pc:sldChg chg="addSp modSp add del mod modClrScheme chgLayout">
        <pc:chgData name="Ricardo Sérgio Souza e Sousa" userId="b2322a61-6b0f-42d2-a39f-a9a5f08999e4" providerId="ADAL" clId="{F7F79181-87BF-44AE-B828-0B657792DFE7}" dt="2022-05-02T11:51:56.059" v="5402" actId="47"/>
        <pc:sldMkLst>
          <pc:docMk/>
          <pc:sldMk cId="0" sldId="272"/>
        </pc:sldMkLst>
        <pc:spChg chg="mod ord">
          <ac:chgData name="Ricardo Sérgio Souza e Sousa" userId="b2322a61-6b0f-42d2-a39f-a9a5f08999e4" providerId="ADAL" clId="{F7F79181-87BF-44AE-B828-0B657792DFE7}" dt="2022-05-02T11:32:26.998" v="4433"/>
          <ac:spMkLst>
            <pc:docMk/>
            <pc:sldMk cId="0" sldId="272"/>
            <ac:spMk id="3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1:31:58.012" v="4392"/>
          <ac:spMkLst>
            <pc:docMk/>
            <pc:sldMk cId="0" sldId="272"/>
            <ac:spMk id="9" creationId="{400B3F76-0B38-8536-1312-EE124939CBD5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5-02T11:51:52.450" v="5401"/>
          <ac:graphicFrameMkLst>
            <pc:docMk/>
            <pc:sldMk cId="0" sldId="272"/>
            <ac:graphicFrameMk id="10" creationId="{36EF30A1-1EB6-5E96-F1BE-ED8D3E06E531}"/>
          </ac:graphicFrameMkLst>
        </pc:graphicFrameChg>
      </pc:sldChg>
      <pc:sldChg chg="addSp modSp add del mod modClrScheme chgLayout">
        <pc:chgData name="Ricardo Sérgio Souza e Sousa" userId="b2322a61-6b0f-42d2-a39f-a9a5f08999e4" providerId="ADAL" clId="{F7F79181-87BF-44AE-B828-0B657792DFE7}" dt="2022-05-02T11:51:57.539" v="5419" actId="47"/>
        <pc:sldMkLst>
          <pc:docMk/>
          <pc:sldMk cId="0" sldId="273"/>
        </pc:sldMkLst>
        <pc:spChg chg="mod ord">
          <ac:chgData name="Ricardo Sérgio Souza e Sousa" userId="b2322a61-6b0f-42d2-a39f-a9a5f08999e4" providerId="ADAL" clId="{F7F79181-87BF-44AE-B828-0B657792DFE7}" dt="2022-05-02T11:32:26.998" v="4433"/>
          <ac:spMkLst>
            <pc:docMk/>
            <pc:sldMk cId="0" sldId="273"/>
            <ac:spMk id="2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1:31:58.977" v="4393"/>
          <ac:spMkLst>
            <pc:docMk/>
            <pc:sldMk cId="0" sldId="273"/>
            <ac:spMk id="6" creationId="{D3F6906D-B157-232A-3DEF-503558AD89CE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5-02T11:51:56.600" v="5418"/>
          <ac:graphicFrameMkLst>
            <pc:docMk/>
            <pc:sldMk cId="0" sldId="273"/>
            <ac:graphicFrameMk id="7" creationId="{D95E5015-1B53-75C1-8001-B53AD48E9589}"/>
          </ac:graphicFrameMkLst>
        </pc:graphicFrameChg>
      </pc:sldChg>
      <pc:sldChg chg="addSp delSp modSp add mod modClrScheme modAnim chgLayout">
        <pc:chgData name="Ricardo Sérgio Souza e Sousa" userId="b2322a61-6b0f-42d2-a39f-a9a5f08999e4" providerId="ADAL" clId="{F7F79181-87BF-44AE-B828-0B657792DFE7}" dt="2022-04-28T12:18:33.146" v="984" actId="1038"/>
        <pc:sldMkLst>
          <pc:docMk/>
          <pc:sldMk cId="0" sldId="278"/>
        </pc:sldMkLst>
        <pc:spChg chg="add del mod">
          <ac:chgData name="Ricardo Sérgio Souza e Sousa" userId="b2322a61-6b0f-42d2-a39f-a9a5f08999e4" providerId="ADAL" clId="{F7F79181-87BF-44AE-B828-0B657792DFE7}" dt="2022-04-28T12:08:40.770" v="584"/>
          <ac:spMkLst>
            <pc:docMk/>
            <pc:sldMk cId="0" sldId="278"/>
            <ac:spMk id="5" creationId="{CA19728A-CD3E-4A9D-8B2C-ADC026201BE1}"/>
          </ac:spMkLst>
        </pc:spChg>
        <pc:spChg chg="add del mod">
          <ac:chgData name="Ricardo Sérgio Souza e Sousa" userId="b2322a61-6b0f-42d2-a39f-a9a5f08999e4" providerId="ADAL" clId="{F7F79181-87BF-44AE-B828-0B657792DFE7}" dt="2022-04-28T12:06:33.417" v="555" actId="478"/>
          <ac:spMkLst>
            <pc:docMk/>
            <pc:sldMk cId="0" sldId="278"/>
            <ac:spMk id="21" creationId="{DE2C6AA7-4D74-4C41-BD4C-50FE0770B4AC}"/>
          </ac:spMkLst>
        </pc:spChg>
        <pc:spChg chg="del">
          <ac:chgData name="Ricardo Sérgio Souza e Sousa" userId="b2322a61-6b0f-42d2-a39f-a9a5f08999e4" providerId="ADAL" clId="{F7F79181-87BF-44AE-B828-0B657792DFE7}" dt="2022-04-28T12:06:19.769" v="537" actId="478"/>
          <ac:spMkLst>
            <pc:docMk/>
            <pc:sldMk cId="0" sldId="278"/>
            <ac:spMk id="2050" creationId="{00000000-0000-0000-0000-000000000000}"/>
          </ac:spMkLst>
        </pc:spChg>
        <pc:spChg chg="del mod">
          <ac:chgData name="Ricardo Sérgio Souza e Sousa" userId="b2322a61-6b0f-42d2-a39f-a9a5f08999e4" providerId="ADAL" clId="{F7F79181-87BF-44AE-B828-0B657792DFE7}" dt="2022-04-28T12:11:46.158" v="705" actId="478"/>
          <ac:spMkLst>
            <pc:docMk/>
            <pc:sldMk cId="0" sldId="278"/>
            <ac:spMk id="2053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18:33.146" v="984" actId="1038"/>
          <ac:spMkLst>
            <pc:docMk/>
            <pc:sldMk cId="0" sldId="278"/>
            <ac:spMk id="2056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18:24.451" v="965" actId="207"/>
          <ac:spMkLst>
            <pc:docMk/>
            <pc:sldMk cId="0" sldId="278"/>
            <ac:spMk id="2057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10:56.578" v="655" actId="552"/>
          <ac:spMkLst>
            <pc:docMk/>
            <pc:sldMk cId="0" sldId="278"/>
            <ac:spMk id="2058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18:33.146" v="984" actId="1038"/>
          <ac:spMkLst>
            <pc:docMk/>
            <pc:sldMk cId="0" sldId="278"/>
            <ac:spMk id="2063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18:24.451" v="965" actId="207"/>
          <ac:spMkLst>
            <pc:docMk/>
            <pc:sldMk cId="0" sldId="278"/>
            <ac:spMk id="2064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10:56.578" v="655" actId="552"/>
          <ac:spMkLst>
            <pc:docMk/>
            <pc:sldMk cId="0" sldId="278"/>
            <ac:spMk id="2065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18:33.146" v="984" actId="1038"/>
          <ac:spMkLst>
            <pc:docMk/>
            <pc:sldMk cId="0" sldId="278"/>
            <ac:spMk id="2068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18:24.451" v="965" actId="207"/>
          <ac:spMkLst>
            <pc:docMk/>
            <pc:sldMk cId="0" sldId="278"/>
            <ac:spMk id="2069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10:56.578" v="655" actId="552"/>
          <ac:spMkLst>
            <pc:docMk/>
            <pc:sldMk cId="0" sldId="278"/>
            <ac:spMk id="2070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18:33.146" v="984" actId="1038"/>
          <ac:spMkLst>
            <pc:docMk/>
            <pc:sldMk cId="0" sldId="278"/>
            <ac:spMk id="2071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18:24.451" v="965" actId="207"/>
          <ac:spMkLst>
            <pc:docMk/>
            <pc:sldMk cId="0" sldId="278"/>
            <ac:spMk id="207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11:33.142" v="698" actId="20577"/>
          <ac:spMkLst>
            <pc:docMk/>
            <pc:sldMk cId="0" sldId="278"/>
            <ac:spMk id="2073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18:33.146" v="984" actId="1038"/>
          <ac:spMkLst>
            <pc:docMk/>
            <pc:sldMk cId="0" sldId="278"/>
            <ac:spMk id="2074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18:24.451" v="965" actId="207"/>
          <ac:spMkLst>
            <pc:docMk/>
            <pc:sldMk cId="0" sldId="278"/>
            <ac:spMk id="2075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11:39.648" v="704" actId="14100"/>
          <ac:spMkLst>
            <pc:docMk/>
            <pc:sldMk cId="0" sldId="278"/>
            <ac:spMk id="2076" creationId="{00000000-0000-0000-0000-000000000000}"/>
          </ac:spMkLst>
        </pc:spChg>
        <pc:graphicFrameChg chg="add del modGraphic">
          <ac:chgData name="Ricardo Sérgio Souza e Sousa" userId="b2322a61-6b0f-42d2-a39f-a9a5f08999e4" providerId="ADAL" clId="{F7F79181-87BF-44AE-B828-0B657792DFE7}" dt="2022-04-28T12:05:44.029" v="463" actId="478"/>
          <ac:graphicFrameMkLst>
            <pc:docMk/>
            <pc:sldMk cId="0" sldId="278"/>
            <ac:graphicFrameMk id="3" creationId="{6CA24B47-5E7A-42FB-8E19-A1C6D8291FAB}"/>
          </ac:graphicFrameMkLst>
        </pc:graphicFrameChg>
        <pc:graphicFrameChg chg="add mod ord modVis replST">
          <ac:chgData name="Ricardo Sérgio Souza e Sousa" userId="b2322a61-6b0f-42d2-a39f-a9a5f08999e4" providerId="ADAL" clId="{F7F79181-87BF-44AE-B828-0B657792DFE7}" dt="2022-04-28T12:08:41.289" v="586"/>
          <ac:graphicFrameMkLst>
            <pc:docMk/>
            <pc:sldMk cId="0" sldId="278"/>
            <ac:graphicFrameMk id="6" creationId="{CAC385F1-8009-4A2C-B5CC-E80473ADE0AC}"/>
          </ac:graphicFrameMkLst>
        </pc:graphicFrameChg>
      </pc:sldChg>
      <pc:sldChg chg="modSp add del mod modClrScheme chgLayout">
        <pc:chgData name="Ricardo Sérgio Souza e Sousa" userId="b2322a61-6b0f-42d2-a39f-a9a5f08999e4" providerId="ADAL" clId="{F7F79181-87BF-44AE-B828-0B657792DFE7}" dt="2022-04-28T12:18:44.914" v="985" actId="47"/>
        <pc:sldMkLst>
          <pc:docMk/>
          <pc:sldMk cId="0" sldId="279"/>
        </pc:sldMkLst>
        <pc:spChg chg="mod ord">
          <ac:chgData name="Ricardo Sérgio Souza e Sousa" userId="b2322a61-6b0f-42d2-a39f-a9a5f08999e4" providerId="ADAL" clId="{F7F79181-87BF-44AE-B828-0B657792DFE7}" dt="2022-04-28T12:08:40.770" v="584"/>
          <ac:spMkLst>
            <pc:docMk/>
            <pc:sldMk cId="0" sldId="279"/>
            <ac:spMk id="13334" creationId="{00000000-0000-0000-0000-000000000000}"/>
          </ac:spMkLst>
        </pc:spChg>
        <pc:spChg chg="mod ord">
          <ac:chgData name="Ricardo Sérgio Souza e Sousa" userId="b2322a61-6b0f-42d2-a39f-a9a5f08999e4" providerId="ADAL" clId="{F7F79181-87BF-44AE-B828-0B657792DFE7}" dt="2022-04-28T12:08:40.770" v="584"/>
          <ac:spMkLst>
            <pc:docMk/>
            <pc:sldMk cId="0" sldId="279"/>
            <ac:spMk id="13335" creationId="{00000000-0000-0000-0000-000000000000}"/>
          </ac:spMkLst>
        </pc:spChg>
      </pc:sldChg>
      <pc:sldChg chg="del">
        <pc:chgData name="Ricardo Sérgio Souza e Sousa" userId="b2322a61-6b0f-42d2-a39f-a9a5f08999e4" providerId="ADAL" clId="{F7F79181-87BF-44AE-B828-0B657792DFE7}" dt="2022-04-28T12:00:03.708" v="406" actId="47"/>
        <pc:sldMkLst>
          <pc:docMk/>
          <pc:sldMk cId="0" sldId="281"/>
        </pc:sldMkLst>
      </pc:sldChg>
      <pc:sldChg chg="addSp delSp modSp add mod modClrScheme chgLayout">
        <pc:chgData name="Ricardo Sérgio Souza e Sousa" userId="b2322a61-6b0f-42d2-a39f-a9a5f08999e4" providerId="ADAL" clId="{F7F79181-87BF-44AE-B828-0B657792DFE7}" dt="2022-04-28T12:49:30.255" v="1655" actId="1076"/>
        <pc:sldMkLst>
          <pc:docMk/>
          <pc:sldMk cId="0" sldId="282"/>
        </pc:sldMkLst>
        <pc:spChg chg="add mod">
          <ac:chgData name="Ricardo Sérgio Souza e Sousa" userId="b2322a61-6b0f-42d2-a39f-a9a5f08999e4" providerId="ADAL" clId="{F7F79181-87BF-44AE-B828-0B657792DFE7}" dt="2022-04-28T12:49:01.394" v="1611" actId="20577"/>
          <ac:spMkLst>
            <pc:docMk/>
            <pc:sldMk cId="0" sldId="282"/>
            <ac:spMk id="5" creationId="{A1CA9045-16AB-4D67-9704-A4D5548DC081}"/>
          </ac:spMkLst>
        </pc:spChg>
        <pc:spChg chg="del mod ord">
          <ac:chgData name="Ricardo Sérgio Souza e Sousa" userId="b2322a61-6b0f-42d2-a39f-a9a5f08999e4" providerId="ADAL" clId="{F7F79181-87BF-44AE-B828-0B657792DFE7}" dt="2022-04-28T12:49:04.589" v="1612" actId="478"/>
          <ac:spMkLst>
            <pc:docMk/>
            <pc:sldMk cId="0" sldId="282"/>
            <ac:spMk id="24579" creationId="{00000000-0000-0000-0000-000000000000}"/>
          </ac:spMkLst>
        </pc:spChg>
        <pc:spChg chg="mod ord">
          <ac:chgData name="Ricardo Sérgio Souza e Sousa" userId="b2322a61-6b0f-42d2-a39f-a9a5f08999e4" providerId="ADAL" clId="{F7F79181-87BF-44AE-B828-0B657792DFE7}" dt="2022-04-28T12:49:30.255" v="1655" actId="1076"/>
          <ac:spMkLst>
            <pc:docMk/>
            <pc:sldMk cId="0" sldId="282"/>
            <ac:spMk id="24580" creationId="{00000000-0000-0000-0000-000000000000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4-28T12:49:05.120" v="1628"/>
          <ac:graphicFrameMkLst>
            <pc:docMk/>
            <pc:sldMk cId="0" sldId="282"/>
            <ac:graphicFrameMk id="2" creationId="{B446FFC9-55DB-44A2-AE6D-1AAB66C7A483}"/>
          </ac:graphicFrameMkLst>
        </pc:graphicFrameChg>
      </pc:sldChg>
      <pc:sldChg chg="addSp delSp modSp add mod modClrScheme chgLayout">
        <pc:chgData name="Ricardo Sérgio Souza e Sousa" userId="b2322a61-6b0f-42d2-a39f-a9a5f08999e4" providerId="ADAL" clId="{F7F79181-87BF-44AE-B828-0B657792DFE7}" dt="2022-04-28T12:49:26.765" v="1654" actId="1076"/>
        <pc:sldMkLst>
          <pc:docMk/>
          <pc:sldMk cId="0" sldId="283"/>
        </pc:sldMkLst>
        <pc:spChg chg="add mod">
          <ac:chgData name="Ricardo Sérgio Souza e Sousa" userId="b2322a61-6b0f-42d2-a39f-a9a5f08999e4" providerId="ADAL" clId="{F7F79181-87BF-44AE-B828-0B657792DFE7}" dt="2022-04-28T12:49:19.522" v="1636" actId="20577"/>
          <ac:spMkLst>
            <pc:docMk/>
            <pc:sldMk cId="0" sldId="283"/>
            <ac:spMk id="5" creationId="{6EE0A32C-FAA2-4F3C-8CAB-B363B27F8D5A}"/>
          </ac:spMkLst>
        </pc:spChg>
        <pc:spChg chg="del mod ord">
          <ac:chgData name="Ricardo Sérgio Souza e Sousa" userId="b2322a61-6b0f-42d2-a39f-a9a5f08999e4" providerId="ADAL" clId="{F7F79181-87BF-44AE-B828-0B657792DFE7}" dt="2022-04-28T12:49:21.991" v="1637" actId="478"/>
          <ac:spMkLst>
            <pc:docMk/>
            <pc:sldMk cId="0" sldId="283"/>
            <ac:spMk id="25603" creationId="{00000000-0000-0000-0000-000000000000}"/>
          </ac:spMkLst>
        </pc:spChg>
        <pc:spChg chg="mod ord">
          <ac:chgData name="Ricardo Sérgio Souza e Sousa" userId="b2322a61-6b0f-42d2-a39f-a9a5f08999e4" providerId="ADAL" clId="{F7F79181-87BF-44AE-B828-0B657792DFE7}" dt="2022-04-28T12:49:26.765" v="1654" actId="1076"/>
          <ac:spMkLst>
            <pc:docMk/>
            <pc:sldMk cId="0" sldId="283"/>
            <ac:spMk id="25604" creationId="{00000000-0000-0000-0000-000000000000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4-28T12:49:22.559" v="1653"/>
          <ac:graphicFrameMkLst>
            <pc:docMk/>
            <pc:sldMk cId="0" sldId="283"/>
            <ac:graphicFrameMk id="2" creationId="{8D29016A-C464-4867-86AD-0BA6CAF4D88A}"/>
          </ac:graphicFrameMkLst>
        </pc:graphicFrameChg>
      </pc:sldChg>
      <pc:sldChg chg="addSp delSp modSp add mod modClrScheme chgLayout">
        <pc:chgData name="Ricardo Sérgio Souza e Sousa" userId="b2322a61-6b0f-42d2-a39f-a9a5f08999e4" providerId="ADAL" clId="{F7F79181-87BF-44AE-B828-0B657792DFE7}" dt="2022-04-28T12:49:45.006" v="1684" actId="1076"/>
        <pc:sldMkLst>
          <pc:docMk/>
          <pc:sldMk cId="0" sldId="284"/>
        </pc:sldMkLst>
        <pc:spChg chg="add mod">
          <ac:chgData name="Ricardo Sérgio Souza e Sousa" userId="b2322a61-6b0f-42d2-a39f-a9a5f08999e4" providerId="ADAL" clId="{F7F79181-87BF-44AE-B828-0B657792DFE7}" dt="2022-04-28T12:49:37.028" v="1666" actId="20577"/>
          <ac:spMkLst>
            <pc:docMk/>
            <pc:sldMk cId="0" sldId="284"/>
            <ac:spMk id="5" creationId="{08C91DCF-89A3-48A7-82C3-C97D43E44216}"/>
          </ac:spMkLst>
        </pc:spChg>
        <pc:spChg chg="del mod ord">
          <ac:chgData name="Ricardo Sérgio Souza e Sousa" userId="b2322a61-6b0f-42d2-a39f-a9a5f08999e4" providerId="ADAL" clId="{F7F79181-87BF-44AE-B828-0B657792DFE7}" dt="2022-04-28T12:49:39.744" v="1667" actId="478"/>
          <ac:spMkLst>
            <pc:docMk/>
            <pc:sldMk cId="0" sldId="284"/>
            <ac:spMk id="26627" creationId="{00000000-0000-0000-0000-000000000000}"/>
          </ac:spMkLst>
        </pc:spChg>
        <pc:spChg chg="mod ord">
          <ac:chgData name="Ricardo Sérgio Souza e Sousa" userId="b2322a61-6b0f-42d2-a39f-a9a5f08999e4" providerId="ADAL" clId="{F7F79181-87BF-44AE-B828-0B657792DFE7}" dt="2022-04-28T12:49:45.006" v="1684" actId="1076"/>
          <ac:spMkLst>
            <pc:docMk/>
            <pc:sldMk cId="0" sldId="284"/>
            <ac:spMk id="26628" creationId="{00000000-0000-0000-0000-000000000000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4-28T12:49:40.278" v="1683"/>
          <ac:graphicFrameMkLst>
            <pc:docMk/>
            <pc:sldMk cId="0" sldId="284"/>
            <ac:graphicFrameMk id="2" creationId="{32C9857E-DC23-4ED7-81DC-0C525A7725F8}"/>
          </ac:graphicFrameMkLst>
        </pc:graphicFrameChg>
      </pc:sldChg>
      <pc:sldChg chg="del">
        <pc:chgData name="Ricardo Sérgio Souza e Sousa" userId="b2322a61-6b0f-42d2-a39f-a9a5f08999e4" providerId="ADAL" clId="{F7F79181-87BF-44AE-B828-0B657792DFE7}" dt="2022-04-28T12:00:29.496" v="430" actId="47"/>
        <pc:sldMkLst>
          <pc:docMk/>
          <pc:sldMk cId="776039832" sldId="284"/>
        </pc:sldMkLst>
      </pc:sldChg>
      <pc:sldChg chg="addSp delSp modSp add del mod modClrScheme chgLayout">
        <pc:chgData name="Ricardo Sérgio Souza e Sousa" userId="b2322a61-6b0f-42d2-a39f-a9a5f08999e4" providerId="ADAL" clId="{F7F79181-87BF-44AE-B828-0B657792DFE7}" dt="2022-04-28T12:50:06.558" v="1715" actId="1076"/>
        <pc:sldMkLst>
          <pc:docMk/>
          <pc:sldMk cId="0" sldId="285"/>
        </pc:sldMkLst>
        <pc:spChg chg="add mod">
          <ac:chgData name="Ricardo Sérgio Souza e Sousa" userId="b2322a61-6b0f-42d2-a39f-a9a5f08999e4" providerId="ADAL" clId="{F7F79181-87BF-44AE-B828-0B657792DFE7}" dt="2022-04-28T12:49:59.521" v="1697" actId="20577"/>
          <ac:spMkLst>
            <pc:docMk/>
            <pc:sldMk cId="0" sldId="285"/>
            <ac:spMk id="5" creationId="{5CE74574-BB30-429F-B570-4C44459A4AEE}"/>
          </ac:spMkLst>
        </pc:spChg>
        <pc:spChg chg="del mod ord">
          <ac:chgData name="Ricardo Sérgio Souza e Sousa" userId="b2322a61-6b0f-42d2-a39f-a9a5f08999e4" providerId="ADAL" clId="{F7F79181-87BF-44AE-B828-0B657792DFE7}" dt="2022-04-28T12:50:02.561" v="1698" actId="478"/>
          <ac:spMkLst>
            <pc:docMk/>
            <pc:sldMk cId="0" sldId="285"/>
            <ac:spMk id="27651" creationId="{00000000-0000-0000-0000-000000000000}"/>
          </ac:spMkLst>
        </pc:spChg>
        <pc:spChg chg="mod ord">
          <ac:chgData name="Ricardo Sérgio Souza e Sousa" userId="b2322a61-6b0f-42d2-a39f-a9a5f08999e4" providerId="ADAL" clId="{F7F79181-87BF-44AE-B828-0B657792DFE7}" dt="2022-04-28T12:50:06.558" v="1715" actId="1076"/>
          <ac:spMkLst>
            <pc:docMk/>
            <pc:sldMk cId="0" sldId="285"/>
            <ac:spMk id="27652" creationId="{00000000-0000-0000-0000-000000000000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4-28T12:50:03.122" v="1714"/>
          <ac:graphicFrameMkLst>
            <pc:docMk/>
            <pc:sldMk cId="0" sldId="285"/>
            <ac:graphicFrameMk id="2" creationId="{EC1195B3-D861-4E4C-9EFF-FD679DC4B37C}"/>
          </ac:graphicFrameMkLst>
        </pc:graphicFrameChg>
      </pc:sldChg>
      <pc:sldChg chg="addSp delSp modSp add del mod modClrScheme chgLayout">
        <pc:chgData name="Ricardo Sérgio Souza e Sousa" userId="b2322a61-6b0f-42d2-a39f-a9a5f08999e4" providerId="ADAL" clId="{F7F79181-87BF-44AE-B828-0B657792DFE7}" dt="2022-04-28T12:50:54.309" v="1782" actId="948"/>
        <pc:sldMkLst>
          <pc:docMk/>
          <pc:sldMk cId="0" sldId="286"/>
        </pc:sldMkLst>
        <pc:spChg chg="add mod">
          <ac:chgData name="Ricardo Sérgio Souza e Sousa" userId="b2322a61-6b0f-42d2-a39f-a9a5f08999e4" providerId="ADAL" clId="{F7F79181-87BF-44AE-B828-0B657792DFE7}" dt="2022-04-28T12:50:30.899" v="1761" actId="20577"/>
          <ac:spMkLst>
            <pc:docMk/>
            <pc:sldMk cId="0" sldId="286"/>
            <ac:spMk id="5" creationId="{D5E0E260-DAFD-4363-BADA-848F90E17DB6}"/>
          </ac:spMkLst>
        </pc:spChg>
        <pc:spChg chg="del mod ord">
          <ac:chgData name="Ricardo Sérgio Souza e Sousa" userId="b2322a61-6b0f-42d2-a39f-a9a5f08999e4" providerId="ADAL" clId="{F7F79181-87BF-44AE-B828-0B657792DFE7}" dt="2022-04-28T12:50:34.113" v="1762" actId="478"/>
          <ac:spMkLst>
            <pc:docMk/>
            <pc:sldMk cId="0" sldId="286"/>
            <ac:spMk id="14339" creationId="{00000000-0000-0000-0000-000000000000}"/>
          </ac:spMkLst>
        </pc:spChg>
        <pc:spChg chg="mod ord">
          <ac:chgData name="Ricardo Sérgio Souza e Sousa" userId="b2322a61-6b0f-42d2-a39f-a9a5f08999e4" providerId="ADAL" clId="{F7F79181-87BF-44AE-B828-0B657792DFE7}" dt="2022-04-28T12:50:54.309" v="1782" actId="948"/>
          <ac:spMkLst>
            <pc:docMk/>
            <pc:sldMk cId="0" sldId="286"/>
            <ac:spMk id="14340" creationId="{00000000-0000-0000-0000-000000000000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4-28T12:50:34.664" v="1778"/>
          <ac:graphicFrameMkLst>
            <pc:docMk/>
            <pc:sldMk cId="0" sldId="286"/>
            <ac:graphicFrameMk id="2" creationId="{A34C7A39-F7AB-4531-9E25-43298123170B}"/>
          </ac:graphicFrameMkLst>
        </pc:graphicFrameChg>
      </pc:sldChg>
      <pc:sldChg chg="addSp delSp modSp add del mod modClrScheme chgLayout">
        <pc:chgData name="Ricardo Sérgio Souza e Sousa" userId="b2322a61-6b0f-42d2-a39f-a9a5f08999e4" providerId="ADAL" clId="{F7F79181-87BF-44AE-B828-0B657792DFE7}" dt="2022-04-28T12:51:33.563" v="1829" actId="403"/>
        <pc:sldMkLst>
          <pc:docMk/>
          <pc:sldMk cId="0" sldId="287"/>
        </pc:sldMkLst>
        <pc:spChg chg="add mod">
          <ac:chgData name="Ricardo Sérgio Souza e Sousa" userId="b2322a61-6b0f-42d2-a39f-a9a5f08999e4" providerId="ADAL" clId="{F7F79181-87BF-44AE-B828-0B657792DFE7}" dt="2022-04-28T12:51:03.415" v="1797" actId="20577"/>
          <ac:spMkLst>
            <pc:docMk/>
            <pc:sldMk cId="0" sldId="287"/>
            <ac:spMk id="5" creationId="{D25C128C-303B-437B-BDDD-F3AF40CFFC9D}"/>
          </ac:spMkLst>
        </pc:spChg>
        <pc:spChg chg="del mod ord">
          <ac:chgData name="Ricardo Sérgio Souza e Sousa" userId="b2322a61-6b0f-42d2-a39f-a9a5f08999e4" providerId="ADAL" clId="{F7F79181-87BF-44AE-B828-0B657792DFE7}" dt="2022-04-28T12:51:06.205" v="1798" actId="478"/>
          <ac:spMkLst>
            <pc:docMk/>
            <pc:sldMk cId="0" sldId="287"/>
            <ac:spMk id="28675" creationId="{00000000-0000-0000-0000-000000000000}"/>
          </ac:spMkLst>
        </pc:spChg>
        <pc:spChg chg="mod ord">
          <ac:chgData name="Ricardo Sérgio Souza e Sousa" userId="b2322a61-6b0f-42d2-a39f-a9a5f08999e4" providerId="ADAL" clId="{F7F79181-87BF-44AE-B828-0B657792DFE7}" dt="2022-04-28T12:51:33.563" v="1829" actId="403"/>
          <ac:spMkLst>
            <pc:docMk/>
            <pc:sldMk cId="0" sldId="287"/>
            <ac:spMk id="28676" creationId="{00000000-0000-0000-0000-000000000000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4-28T12:51:06.762" v="1814"/>
          <ac:graphicFrameMkLst>
            <pc:docMk/>
            <pc:sldMk cId="0" sldId="287"/>
            <ac:graphicFrameMk id="2" creationId="{C21355FB-D894-4610-94BD-0A1B1B66D304}"/>
          </ac:graphicFrameMkLst>
        </pc:graphicFrameChg>
      </pc:sldChg>
      <pc:sldChg chg="addSp delSp modSp add del mod modClrScheme chgLayout">
        <pc:chgData name="Ricardo Sérgio Souza e Sousa" userId="b2322a61-6b0f-42d2-a39f-a9a5f08999e4" providerId="ADAL" clId="{F7F79181-87BF-44AE-B828-0B657792DFE7}" dt="2022-04-28T12:52:09.672" v="1854" actId="1076"/>
        <pc:sldMkLst>
          <pc:docMk/>
          <pc:sldMk cId="0" sldId="288"/>
        </pc:sldMkLst>
        <pc:spChg chg="add mod">
          <ac:chgData name="Ricardo Sérgio Souza e Sousa" userId="b2322a61-6b0f-42d2-a39f-a9a5f08999e4" providerId="ADAL" clId="{F7F79181-87BF-44AE-B828-0B657792DFE7}" dt="2022-04-28T12:52:03.674" v="1836" actId="20577"/>
          <ac:spMkLst>
            <pc:docMk/>
            <pc:sldMk cId="0" sldId="288"/>
            <ac:spMk id="5" creationId="{C9D5DF7E-FB86-44FE-80AA-6AD4A6BA8006}"/>
          </ac:spMkLst>
        </pc:spChg>
        <pc:spChg chg="del mod ord">
          <ac:chgData name="Ricardo Sérgio Souza e Sousa" userId="b2322a61-6b0f-42d2-a39f-a9a5f08999e4" providerId="ADAL" clId="{F7F79181-87BF-44AE-B828-0B657792DFE7}" dt="2022-04-28T12:52:05.922" v="1837" actId="478"/>
          <ac:spMkLst>
            <pc:docMk/>
            <pc:sldMk cId="0" sldId="288"/>
            <ac:spMk id="29699" creationId="{00000000-0000-0000-0000-000000000000}"/>
          </ac:spMkLst>
        </pc:spChg>
        <pc:spChg chg="mod ord">
          <ac:chgData name="Ricardo Sérgio Souza e Sousa" userId="b2322a61-6b0f-42d2-a39f-a9a5f08999e4" providerId="ADAL" clId="{F7F79181-87BF-44AE-B828-0B657792DFE7}" dt="2022-04-28T12:52:09.672" v="1854" actId="1076"/>
          <ac:spMkLst>
            <pc:docMk/>
            <pc:sldMk cId="0" sldId="288"/>
            <ac:spMk id="29700" creationId="{00000000-0000-0000-0000-000000000000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4-28T12:52:06.451" v="1853"/>
          <ac:graphicFrameMkLst>
            <pc:docMk/>
            <pc:sldMk cId="0" sldId="288"/>
            <ac:graphicFrameMk id="2" creationId="{3E0D3687-9C25-4BD5-9128-5CEB5D79D71F}"/>
          </ac:graphicFrameMkLst>
        </pc:graphicFrameChg>
      </pc:sldChg>
      <pc:sldChg chg="addSp delSp modSp add del mod modClrScheme chgLayout">
        <pc:chgData name="Ricardo Sérgio Souza e Sousa" userId="b2322a61-6b0f-42d2-a39f-a9a5f08999e4" providerId="ADAL" clId="{F7F79181-87BF-44AE-B828-0B657792DFE7}" dt="2022-04-28T12:55:10.644" v="2135" actId="14100"/>
        <pc:sldMkLst>
          <pc:docMk/>
          <pc:sldMk cId="0" sldId="289"/>
        </pc:sldMkLst>
        <pc:spChg chg="add mod">
          <ac:chgData name="Ricardo Sérgio Souza e Sousa" userId="b2322a61-6b0f-42d2-a39f-a9a5f08999e4" providerId="ADAL" clId="{F7F79181-87BF-44AE-B828-0B657792DFE7}" dt="2022-04-28T12:54:43.811" v="2133" actId="20577"/>
          <ac:spMkLst>
            <pc:docMk/>
            <pc:sldMk cId="0" sldId="289"/>
            <ac:spMk id="6" creationId="{5C5F14D7-E2B9-42D7-9A98-064D699ACD0B}"/>
          </ac:spMkLst>
        </pc:spChg>
        <pc:spChg chg="del mod ord">
          <ac:chgData name="Ricardo Sérgio Souza e Sousa" userId="b2322a61-6b0f-42d2-a39f-a9a5f08999e4" providerId="ADAL" clId="{F7F79181-87BF-44AE-B828-0B657792DFE7}" dt="2022-04-28T12:54:34.045" v="2092" actId="478"/>
          <ac:spMkLst>
            <pc:docMk/>
            <pc:sldMk cId="0" sldId="289"/>
            <ac:spMk id="30723" creationId="{00000000-0000-0000-0000-000000000000}"/>
          </ac:spMkLst>
        </pc:spChg>
        <pc:spChg chg="mod ord">
          <ac:chgData name="Ricardo Sérgio Souza e Sousa" userId="b2322a61-6b0f-42d2-a39f-a9a5f08999e4" providerId="ADAL" clId="{F7F79181-87BF-44AE-B828-0B657792DFE7}" dt="2022-04-28T12:55:10.644" v="2135" actId="14100"/>
          <ac:spMkLst>
            <pc:docMk/>
            <pc:sldMk cId="0" sldId="289"/>
            <ac:spMk id="30724" creationId="{00000000-0000-0000-0000-000000000000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4-28T12:54:34.577" v="2108"/>
          <ac:graphicFrameMkLst>
            <pc:docMk/>
            <pc:sldMk cId="0" sldId="289"/>
            <ac:graphicFrameMk id="2" creationId="{57C6954A-5268-42B0-8258-69E869776902}"/>
          </ac:graphicFrameMkLst>
        </pc:graphicFrameChg>
      </pc:sldChg>
      <pc:sldChg chg="modSp add del mod modClrScheme chgLayout">
        <pc:chgData name="Ricardo Sérgio Souza e Sousa" userId="b2322a61-6b0f-42d2-a39f-a9a5f08999e4" providerId="ADAL" clId="{F7F79181-87BF-44AE-B828-0B657792DFE7}" dt="2022-04-28T13:45:37.781" v="3700" actId="47"/>
        <pc:sldMkLst>
          <pc:docMk/>
          <pc:sldMk cId="0" sldId="290"/>
        </pc:sldMkLst>
        <pc:spChg chg="mod ord">
          <ac:chgData name="Ricardo Sérgio Souza e Sousa" userId="b2322a61-6b0f-42d2-a39f-a9a5f08999e4" providerId="ADAL" clId="{F7F79181-87BF-44AE-B828-0B657792DFE7}" dt="2022-04-28T12:08:40.770" v="584"/>
          <ac:spMkLst>
            <pc:docMk/>
            <pc:sldMk cId="0" sldId="290"/>
            <ac:spMk id="15363" creationId="{00000000-0000-0000-0000-000000000000}"/>
          </ac:spMkLst>
        </pc:spChg>
        <pc:spChg chg="mod ord">
          <ac:chgData name="Ricardo Sérgio Souza e Sousa" userId="b2322a61-6b0f-42d2-a39f-a9a5f08999e4" providerId="ADAL" clId="{F7F79181-87BF-44AE-B828-0B657792DFE7}" dt="2022-04-28T12:08:40.770" v="584"/>
          <ac:spMkLst>
            <pc:docMk/>
            <pc:sldMk cId="0" sldId="290"/>
            <ac:spMk id="15364" creationId="{00000000-0000-0000-0000-000000000000}"/>
          </ac:spMkLst>
        </pc:spChg>
      </pc:sldChg>
      <pc:sldChg chg="addSp delSp modSp add mod modClrScheme chgLayout">
        <pc:chgData name="Ricardo Sérgio Souza e Sousa" userId="b2322a61-6b0f-42d2-a39f-a9a5f08999e4" providerId="ADAL" clId="{F7F79181-87BF-44AE-B828-0B657792DFE7}" dt="2022-04-28T13:06:00.911" v="2403" actId="20577"/>
        <pc:sldMkLst>
          <pc:docMk/>
          <pc:sldMk cId="0" sldId="291"/>
        </pc:sldMkLst>
        <pc:spChg chg="add mod">
          <ac:chgData name="Ricardo Sérgio Souza e Sousa" userId="b2322a61-6b0f-42d2-a39f-a9a5f08999e4" providerId="ADAL" clId="{F7F79181-87BF-44AE-B828-0B657792DFE7}" dt="2022-04-28T13:04:48.700" v="2345" actId="20577"/>
          <ac:spMkLst>
            <pc:docMk/>
            <pc:sldMk cId="0" sldId="291"/>
            <ac:spMk id="6" creationId="{25C168A8-20D7-47A5-A622-FAD7756CC859}"/>
          </ac:spMkLst>
        </pc:spChg>
        <pc:spChg chg="del mod ord">
          <ac:chgData name="Ricardo Sérgio Souza e Sousa" userId="b2322a61-6b0f-42d2-a39f-a9a5f08999e4" providerId="ADAL" clId="{F7F79181-87BF-44AE-B828-0B657792DFE7}" dt="2022-04-28T13:04:41.084" v="2308" actId="478"/>
          <ac:spMkLst>
            <pc:docMk/>
            <pc:sldMk cId="0" sldId="291"/>
            <ac:spMk id="31747" creationId="{00000000-0000-0000-0000-000000000000}"/>
          </ac:spMkLst>
        </pc:spChg>
        <pc:spChg chg="mod ord">
          <ac:chgData name="Ricardo Sérgio Souza e Sousa" userId="b2322a61-6b0f-42d2-a39f-a9a5f08999e4" providerId="ADAL" clId="{F7F79181-87BF-44AE-B828-0B657792DFE7}" dt="2022-04-28T13:06:00.911" v="2403" actId="20577"/>
          <ac:spMkLst>
            <pc:docMk/>
            <pc:sldMk cId="0" sldId="291"/>
            <ac:spMk id="31748" creationId="{00000000-0000-0000-0000-000000000000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4-28T13:04:41.647" v="2324"/>
          <ac:graphicFrameMkLst>
            <pc:docMk/>
            <pc:sldMk cId="0" sldId="291"/>
            <ac:graphicFrameMk id="2" creationId="{2F285614-782E-49B2-93D2-57BC5AF659E6}"/>
          </ac:graphicFrameMkLst>
        </pc:graphicFrameChg>
      </pc:sldChg>
      <pc:sldChg chg="add del">
        <pc:chgData name="Ricardo Sérgio Souza e Sousa" userId="b2322a61-6b0f-42d2-a39f-a9a5f08999e4" providerId="ADAL" clId="{F7F79181-87BF-44AE-B828-0B657792DFE7}" dt="2022-04-28T13:45:39.477" v="3701" actId="47"/>
        <pc:sldMkLst>
          <pc:docMk/>
          <pc:sldMk cId="0" sldId="292"/>
        </pc:sldMkLst>
      </pc:sldChg>
      <pc:sldChg chg="add del">
        <pc:chgData name="Ricardo Sérgio Souza e Sousa" userId="b2322a61-6b0f-42d2-a39f-a9a5f08999e4" providerId="ADAL" clId="{F7F79181-87BF-44AE-B828-0B657792DFE7}" dt="2022-04-28T13:45:42.459" v="3702" actId="47"/>
        <pc:sldMkLst>
          <pc:docMk/>
          <pc:sldMk cId="0" sldId="293"/>
        </pc:sldMkLst>
      </pc:sldChg>
      <pc:sldChg chg="addSp delSp modSp add del mod modClrScheme chgLayout">
        <pc:chgData name="Ricardo Sérgio Souza e Sousa" userId="b2322a61-6b0f-42d2-a39f-a9a5f08999e4" providerId="ADAL" clId="{F7F79181-87BF-44AE-B828-0B657792DFE7}" dt="2022-04-28T13:06:22.074" v="2449" actId="1076"/>
        <pc:sldMkLst>
          <pc:docMk/>
          <pc:sldMk cId="0" sldId="294"/>
        </pc:sldMkLst>
        <pc:spChg chg="add mod">
          <ac:chgData name="Ricardo Sérgio Souza e Sousa" userId="b2322a61-6b0f-42d2-a39f-a9a5f08999e4" providerId="ADAL" clId="{F7F79181-87BF-44AE-B828-0B657792DFE7}" dt="2022-04-28T13:06:17.123" v="2431" actId="20577"/>
          <ac:spMkLst>
            <pc:docMk/>
            <pc:sldMk cId="0" sldId="294"/>
            <ac:spMk id="5" creationId="{B6CDB543-2901-4148-99DA-E4521367FD23}"/>
          </ac:spMkLst>
        </pc:spChg>
        <pc:spChg chg="del mod ord">
          <ac:chgData name="Ricardo Sérgio Souza e Sousa" userId="b2322a61-6b0f-42d2-a39f-a9a5f08999e4" providerId="ADAL" clId="{F7F79181-87BF-44AE-B828-0B657792DFE7}" dt="2022-04-28T13:06:19.886" v="2432" actId="478"/>
          <ac:spMkLst>
            <pc:docMk/>
            <pc:sldMk cId="0" sldId="294"/>
            <ac:spMk id="35843" creationId="{00000000-0000-0000-0000-000000000000}"/>
          </ac:spMkLst>
        </pc:spChg>
        <pc:spChg chg="mod ord">
          <ac:chgData name="Ricardo Sérgio Souza e Sousa" userId="b2322a61-6b0f-42d2-a39f-a9a5f08999e4" providerId="ADAL" clId="{F7F79181-87BF-44AE-B828-0B657792DFE7}" dt="2022-04-28T13:06:22.074" v="2449" actId="1076"/>
          <ac:spMkLst>
            <pc:docMk/>
            <pc:sldMk cId="0" sldId="294"/>
            <ac:spMk id="35844" creationId="{00000000-0000-0000-0000-000000000000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4-28T13:06:20.436" v="2448"/>
          <ac:graphicFrameMkLst>
            <pc:docMk/>
            <pc:sldMk cId="0" sldId="294"/>
            <ac:graphicFrameMk id="2" creationId="{85983C6E-FB20-4DE9-BC4C-E3854E851A56}"/>
          </ac:graphicFrameMkLst>
        </pc:graphicFrameChg>
      </pc:sldChg>
      <pc:sldChg chg="addSp delSp modSp add del mod ord modClrScheme chgLayout">
        <pc:chgData name="Ricardo Sérgio Souza e Sousa" userId="b2322a61-6b0f-42d2-a39f-a9a5f08999e4" providerId="ADAL" clId="{F7F79181-87BF-44AE-B828-0B657792DFE7}" dt="2022-04-28T12:29:32.367" v="1110" actId="1076"/>
        <pc:sldMkLst>
          <pc:docMk/>
          <pc:sldMk cId="0" sldId="295"/>
        </pc:sldMkLst>
        <pc:spChg chg="add mod">
          <ac:chgData name="Ricardo Sérgio Souza e Sousa" userId="b2322a61-6b0f-42d2-a39f-a9a5f08999e4" providerId="ADAL" clId="{F7F79181-87BF-44AE-B828-0B657792DFE7}" dt="2022-04-28T12:29:23.019" v="1108" actId="20577"/>
          <ac:spMkLst>
            <pc:docMk/>
            <pc:sldMk cId="0" sldId="295"/>
            <ac:spMk id="5" creationId="{0577D15A-BCD4-4645-B0DA-96FE44551C1E}"/>
          </ac:spMkLst>
        </pc:spChg>
        <pc:spChg chg="del mod ord">
          <ac:chgData name="Ricardo Sérgio Souza e Sousa" userId="b2322a61-6b0f-42d2-a39f-a9a5f08999e4" providerId="ADAL" clId="{F7F79181-87BF-44AE-B828-0B657792DFE7}" dt="2022-04-28T12:19:50.105" v="1028" actId="478"/>
          <ac:spMkLst>
            <pc:docMk/>
            <pc:sldMk cId="0" sldId="295"/>
            <ac:spMk id="36867" creationId="{00000000-0000-0000-0000-000000000000}"/>
          </ac:spMkLst>
        </pc:spChg>
        <pc:spChg chg="mod ord">
          <ac:chgData name="Ricardo Sérgio Souza e Sousa" userId="b2322a61-6b0f-42d2-a39f-a9a5f08999e4" providerId="ADAL" clId="{F7F79181-87BF-44AE-B828-0B657792DFE7}" dt="2022-04-28T12:29:32.367" v="1110" actId="1076"/>
          <ac:spMkLst>
            <pc:docMk/>
            <pc:sldMk cId="0" sldId="295"/>
            <ac:spMk id="36868" creationId="{00000000-0000-0000-0000-000000000000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4-28T12:19:50.647" v="1044"/>
          <ac:graphicFrameMkLst>
            <pc:docMk/>
            <pc:sldMk cId="0" sldId="295"/>
            <ac:graphicFrameMk id="2" creationId="{6BCBA3F8-E179-462E-9694-837BDC186A97}"/>
          </ac:graphicFrameMkLst>
        </pc:graphicFrameChg>
      </pc:sldChg>
      <pc:sldChg chg="addSp delSp modSp add del mod ord modClrScheme chgLayout">
        <pc:chgData name="Ricardo Sérgio Souza e Sousa" userId="b2322a61-6b0f-42d2-a39f-a9a5f08999e4" providerId="ADAL" clId="{F7F79181-87BF-44AE-B828-0B657792DFE7}" dt="2022-05-17T14:33:59.888" v="9224" actId="2696"/>
        <pc:sldMkLst>
          <pc:docMk/>
          <pc:sldMk cId="3544607245" sldId="296"/>
        </pc:sldMkLst>
        <pc:spChg chg="add mod">
          <ac:chgData name="Ricardo Sérgio Souza e Sousa" userId="b2322a61-6b0f-42d2-a39f-a9a5f08999e4" providerId="ADAL" clId="{F7F79181-87BF-44AE-B828-0B657792DFE7}" dt="2022-04-28T13:09:09.783" v="2505" actId="20577"/>
          <ac:spMkLst>
            <pc:docMk/>
            <pc:sldMk cId="3544607245" sldId="296"/>
            <ac:spMk id="6" creationId="{71A320D0-410D-402D-8CBA-1F31FB3FD51C}"/>
          </ac:spMkLst>
        </pc:spChg>
        <pc:spChg chg="del mod ord">
          <ac:chgData name="Ricardo Sérgio Souza e Sousa" userId="b2322a61-6b0f-42d2-a39f-a9a5f08999e4" providerId="ADAL" clId="{F7F79181-87BF-44AE-B828-0B657792DFE7}" dt="2022-04-28T13:08:59.482" v="2464" actId="478"/>
          <ac:spMkLst>
            <pc:docMk/>
            <pc:sldMk cId="3544607245" sldId="296"/>
            <ac:spMk id="37891" creationId="{00000000-0000-0000-0000-000000000000}"/>
          </ac:spMkLst>
        </pc:spChg>
        <pc:spChg chg="mod ord">
          <ac:chgData name="Ricardo Sérgio Souza e Sousa" userId="b2322a61-6b0f-42d2-a39f-a9a5f08999e4" providerId="ADAL" clId="{F7F79181-87BF-44AE-B828-0B657792DFE7}" dt="2022-04-28T13:11:10.154" v="2583" actId="1036"/>
          <ac:spMkLst>
            <pc:docMk/>
            <pc:sldMk cId="3544607245" sldId="296"/>
            <ac:spMk id="37892" creationId="{00000000-0000-0000-0000-000000000000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4-28T13:09:00.024" v="2480"/>
          <ac:graphicFrameMkLst>
            <pc:docMk/>
            <pc:sldMk cId="3544607245" sldId="296"/>
            <ac:graphicFrameMk id="2" creationId="{DA1578CE-CE17-4C9D-B9E6-B9C6E53D0DFD}"/>
          </ac:graphicFrameMkLst>
        </pc:graphicFrameChg>
      </pc:sldChg>
      <pc:sldChg chg="addSp delSp modSp add del mod modNotes">
        <pc:chgData name="Ricardo Sérgio Souza e Sousa" userId="b2322a61-6b0f-42d2-a39f-a9a5f08999e4" providerId="ADAL" clId="{F7F79181-87BF-44AE-B828-0B657792DFE7}" dt="2022-05-13T11:09:32.014" v="7961"/>
        <pc:sldMkLst>
          <pc:docMk/>
          <pc:sldMk cId="0" sldId="297"/>
        </pc:sldMkLst>
        <pc:spChg chg="add mod">
          <ac:chgData name="Ricardo Sérgio Souza e Sousa" userId="b2322a61-6b0f-42d2-a39f-a9a5f08999e4" providerId="ADAL" clId="{F7F79181-87BF-44AE-B828-0B657792DFE7}" dt="2022-04-28T13:42:10.518" v="3544" actId="20577"/>
          <ac:spMkLst>
            <pc:docMk/>
            <pc:sldMk cId="0" sldId="297"/>
            <ac:spMk id="148" creationId="{613AC2B6-51E4-4B5A-9917-1781393DE05F}"/>
          </ac:spMkLst>
        </pc:spChg>
        <pc:spChg chg="del">
          <ac:chgData name="Ricardo Sérgio Souza e Sousa" userId="b2322a61-6b0f-42d2-a39f-a9a5f08999e4" providerId="ADAL" clId="{F7F79181-87BF-44AE-B828-0B657792DFE7}" dt="2022-04-28T13:41:58.884" v="3505" actId="478"/>
          <ac:spMkLst>
            <pc:docMk/>
            <pc:sldMk cId="0" sldId="297"/>
            <ac:spMk id="5122" creationId="{A9457045-7C19-4C55-B7D9-91134D2A4444}"/>
          </ac:spMkLst>
        </pc:spChg>
        <pc:spChg chg="mod">
          <ac:chgData name="Ricardo Sérgio Souza e Sousa" userId="b2322a61-6b0f-42d2-a39f-a9a5f08999e4" providerId="ADAL" clId="{F7F79181-87BF-44AE-B828-0B657792DFE7}" dt="2022-04-28T13:42:25.459" v="3547" actId="207"/>
          <ac:spMkLst>
            <pc:docMk/>
            <pc:sldMk cId="0" sldId="297"/>
            <ac:spMk id="5123" creationId="{0E1715DB-C0B3-4E6C-92F3-36765968408D}"/>
          </ac:spMkLst>
        </pc:spChg>
        <pc:spChg chg="mod">
          <ac:chgData name="Ricardo Sérgio Souza e Sousa" userId="b2322a61-6b0f-42d2-a39f-a9a5f08999e4" providerId="ADAL" clId="{F7F79181-87BF-44AE-B828-0B657792DFE7}" dt="2022-04-28T13:42:21.404" v="3546" actId="207"/>
          <ac:spMkLst>
            <pc:docMk/>
            <pc:sldMk cId="0" sldId="297"/>
            <ac:spMk id="5124" creationId="{C27E3B26-B79E-4399-BAB7-38D05A810F93}"/>
          </ac:spMkLst>
        </pc:spChg>
        <pc:spChg chg="mod">
          <ac:chgData name="Ricardo Sérgio Souza e Sousa" userId="b2322a61-6b0f-42d2-a39f-a9a5f08999e4" providerId="ADAL" clId="{F7F79181-87BF-44AE-B828-0B657792DFE7}" dt="2022-04-28T13:43:00.093" v="3563" actId="1038"/>
          <ac:spMkLst>
            <pc:docMk/>
            <pc:sldMk cId="0" sldId="297"/>
            <ac:spMk id="5125" creationId="{F80AAFBE-B958-4549-990A-C1F805B8D146}"/>
          </ac:spMkLst>
        </pc:spChg>
        <pc:spChg chg="mod">
          <ac:chgData name="Ricardo Sérgio Souza e Sousa" userId="b2322a61-6b0f-42d2-a39f-a9a5f08999e4" providerId="ADAL" clId="{F7F79181-87BF-44AE-B828-0B657792DFE7}" dt="2022-04-28T13:43:23.241" v="3567" actId="1076"/>
          <ac:spMkLst>
            <pc:docMk/>
            <pc:sldMk cId="0" sldId="297"/>
            <ac:spMk id="5126" creationId="{3B4C769A-871B-44DE-9FCD-A7EA5BAC8EB8}"/>
          </ac:spMkLst>
        </pc:spChg>
        <pc:spChg chg="mod">
          <ac:chgData name="Ricardo Sérgio Souza e Sousa" userId="b2322a61-6b0f-42d2-a39f-a9a5f08999e4" providerId="ADAL" clId="{F7F79181-87BF-44AE-B828-0B657792DFE7}" dt="2022-04-28T13:43:14.859" v="3566" actId="207"/>
          <ac:spMkLst>
            <pc:docMk/>
            <pc:sldMk cId="0" sldId="297"/>
            <ac:spMk id="5128" creationId="{8438ED7A-5737-4D1F-9C48-444C2CB87DA3}"/>
          </ac:spMkLst>
        </pc:spChg>
        <pc:spChg chg="mod">
          <ac:chgData name="Ricardo Sérgio Souza e Sousa" userId="b2322a61-6b0f-42d2-a39f-a9a5f08999e4" providerId="ADAL" clId="{F7F79181-87BF-44AE-B828-0B657792DFE7}" dt="2022-04-28T13:43:05.122" v="3564" actId="1076"/>
          <ac:spMkLst>
            <pc:docMk/>
            <pc:sldMk cId="0" sldId="297"/>
            <ac:spMk id="5129" creationId="{32D1EC8F-C3EC-44F2-A059-D1758EC4D5C4}"/>
          </ac:spMkLst>
        </pc:spChg>
        <pc:spChg chg="mod">
          <ac:chgData name="Ricardo Sérgio Souza e Sousa" userId="b2322a61-6b0f-42d2-a39f-a9a5f08999e4" providerId="ADAL" clId="{F7F79181-87BF-44AE-B828-0B657792DFE7}" dt="2022-04-28T13:42:54.118" v="3552" actId="207"/>
          <ac:spMkLst>
            <pc:docMk/>
            <pc:sldMk cId="0" sldId="297"/>
            <ac:spMk id="5238" creationId="{C445AFC9-6139-4517-9EA1-80127CD105F0}"/>
          </ac:spMkLst>
        </pc:spChg>
        <pc:spChg chg="mod">
          <ac:chgData name="Ricardo Sérgio Souza e Sousa" userId="b2322a61-6b0f-42d2-a39f-a9a5f08999e4" providerId="ADAL" clId="{F7F79181-87BF-44AE-B828-0B657792DFE7}" dt="2022-04-28T13:42:48.444" v="3551" actId="207"/>
          <ac:spMkLst>
            <pc:docMk/>
            <pc:sldMk cId="0" sldId="297"/>
            <ac:spMk id="5262" creationId="{FAC7705A-D77B-43DA-92C5-D4B8CB22B4FA}"/>
          </ac:spMkLst>
        </pc:spChg>
        <pc:spChg chg="mod">
          <ac:chgData name="Ricardo Sérgio Souza e Sousa" userId="b2322a61-6b0f-42d2-a39f-a9a5f08999e4" providerId="ADAL" clId="{F7F79181-87BF-44AE-B828-0B657792DFE7}" dt="2022-04-28T13:42:48.444" v="3551" actId="207"/>
          <ac:spMkLst>
            <pc:docMk/>
            <pc:sldMk cId="0" sldId="297"/>
            <ac:spMk id="5263" creationId="{5C453D13-466E-4744-B574-99742CDADF21}"/>
          </ac:spMkLst>
        </pc:spChg>
        <pc:spChg chg="mod">
          <ac:chgData name="Ricardo Sérgio Souza e Sousa" userId="b2322a61-6b0f-42d2-a39f-a9a5f08999e4" providerId="ADAL" clId="{F7F79181-87BF-44AE-B828-0B657792DFE7}" dt="2022-04-28T13:42:48.444" v="3551" actId="207"/>
          <ac:spMkLst>
            <pc:docMk/>
            <pc:sldMk cId="0" sldId="297"/>
            <ac:spMk id="5264" creationId="{23743E0F-64EF-4F6C-A2D6-00B761872353}"/>
          </ac:spMkLst>
        </pc:spChg>
        <pc:spChg chg="mod">
          <ac:chgData name="Ricardo Sérgio Souza e Sousa" userId="b2322a61-6b0f-42d2-a39f-a9a5f08999e4" providerId="ADAL" clId="{F7F79181-87BF-44AE-B828-0B657792DFE7}" dt="2022-04-28T13:42:48.444" v="3551" actId="207"/>
          <ac:spMkLst>
            <pc:docMk/>
            <pc:sldMk cId="0" sldId="297"/>
            <ac:spMk id="5265" creationId="{B701BF54-F29D-4C25-9F58-EB994DFD0354}"/>
          </ac:spMkLst>
        </pc:spChg>
        <pc:spChg chg="mod">
          <ac:chgData name="Ricardo Sérgio Souza e Sousa" userId="b2322a61-6b0f-42d2-a39f-a9a5f08999e4" providerId="ADAL" clId="{F7F79181-87BF-44AE-B828-0B657792DFE7}" dt="2022-04-28T13:42:48.444" v="3551" actId="207"/>
          <ac:spMkLst>
            <pc:docMk/>
            <pc:sldMk cId="0" sldId="297"/>
            <ac:spMk id="5266" creationId="{7A16592A-73E0-4F32-9D8A-92A7C8B83296}"/>
          </ac:spMkLst>
        </pc:spChg>
        <pc:spChg chg="mod">
          <ac:chgData name="Ricardo Sérgio Souza e Sousa" userId="b2322a61-6b0f-42d2-a39f-a9a5f08999e4" providerId="ADAL" clId="{F7F79181-87BF-44AE-B828-0B657792DFE7}" dt="2022-04-28T13:42:48.444" v="3551" actId="207"/>
          <ac:spMkLst>
            <pc:docMk/>
            <pc:sldMk cId="0" sldId="297"/>
            <ac:spMk id="5267" creationId="{5AEE2EB8-57ED-482F-ADE9-5E4DC142285A}"/>
          </ac:spMkLst>
        </pc:spChg>
      </pc:sldChg>
      <pc:sldChg chg="addSp modSp add del mod ord">
        <pc:chgData name="Ricardo Sérgio Souza e Sousa" userId="b2322a61-6b0f-42d2-a39f-a9a5f08999e4" providerId="ADAL" clId="{F7F79181-87BF-44AE-B828-0B657792DFE7}" dt="2022-04-28T13:52:07.629" v="3762" actId="20577"/>
        <pc:sldMkLst>
          <pc:docMk/>
          <pc:sldMk cId="0" sldId="298"/>
        </pc:sldMkLst>
        <pc:spChg chg="mod">
          <ac:chgData name="Ricardo Sérgio Souza e Sousa" userId="b2322a61-6b0f-42d2-a39f-a9a5f08999e4" providerId="ADAL" clId="{F7F79181-87BF-44AE-B828-0B657792DFE7}" dt="2022-04-28T13:17:31.164" v="2808" actId="1076"/>
          <ac:spMkLst>
            <pc:docMk/>
            <pc:sldMk cId="0" sldId="298"/>
            <ac:spMk id="2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4-28T13:52:07.629" v="3762" actId="20577"/>
          <ac:spMkLst>
            <pc:docMk/>
            <pc:sldMk cId="0" sldId="298"/>
            <ac:spMk id="3" creationId="{F79062AD-8400-4218-9826-B8BDD63B33BB}"/>
          </ac:spMkLst>
        </pc:spChg>
      </pc:sldChg>
      <pc:sldChg chg="add del">
        <pc:chgData name="Ricardo Sérgio Souza e Sousa" userId="b2322a61-6b0f-42d2-a39f-a9a5f08999e4" providerId="ADAL" clId="{F7F79181-87BF-44AE-B828-0B657792DFE7}" dt="2022-04-28T13:46:40.257" v="3708" actId="47"/>
        <pc:sldMkLst>
          <pc:docMk/>
          <pc:sldMk cId="0" sldId="299"/>
        </pc:sldMkLst>
      </pc:sldChg>
      <pc:sldChg chg="del">
        <pc:chgData name="Ricardo Sérgio Souza e Sousa" userId="b2322a61-6b0f-42d2-a39f-a9a5f08999e4" providerId="ADAL" clId="{F7F79181-87BF-44AE-B828-0B657792DFE7}" dt="2022-04-28T11:59:54.346" v="383" actId="47"/>
        <pc:sldMkLst>
          <pc:docMk/>
          <pc:sldMk cId="0" sldId="300"/>
        </pc:sldMkLst>
      </pc:sldChg>
      <pc:sldChg chg="add del setBg">
        <pc:chgData name="Ricardo Sérgio Souza e Sousa" userId="b2322a61-6b0f-42d2-a39f-a9a5f08999e4" providerId="ADAL" clId="{F7F79181-87BF-44AE-B828-0B657792DFE7}" dt="2022-04-28T13:45:49.889" v="3704" actId="47"/>
        <pc:sldMkLst>
          <pc:docMk/>
          <pc:sldMk cId="0" sldId="301"/>
        </pc:sldMkLst>
      </pc:sldChg>
      <pc:sldChg chg="addSp delSp modSp add del mod">
        <pc:chgData name="Ricardo Sérgio Souza e Sousa" userId="b2322a61-6b0f-42d2-a39f-a9a5f08999e4" providerId="ADAL" clId="{F7F79181-87BF-44AE-B828-0B657792DFE7}" dt="2022-05-02T10:30:47.450" v="3771"/>
        <pc:sldMkLst>
          <pc:docMk/>
          <pc:sldMk cId="0" sldId="302"/>
        </pc:sldMkLst>
        <pc:spChg chg="mod">
          <ac:chgData name="Ricardo Sérgio Souza e Sousa" userId="b2322a61-6b0f-42d2-a39f-a9a5f08999e4" providerId="ADAL" clId="{F7F79181-87BF-44AE-B828-0B657792DFE7}" dt="2022-04-28T13:48:55.690" v="3751" actId="2711"/>
          <ac:spMkLst>
            <pc:docMk/>
            <pc:sldMk cId="0" sldId="302"/>
            <ac:spMk id="16386" creationId="{264B27E4-6F9C-4222-AE7B-F81F15E8590F}"/>
          </ac:spMkLst>
        </pc:spChg>
        <pc:graphicFrameChg chg="add del mod">
          <ac:chgData name="Ricardo Sérgio Souza e Sousa" userId="b2322a61-6b0f-42d2-a39f-a9a5f08999e4" providerId="ADAL" clId="{F7F79181-87BF-44AE-B828-0B657792DFE7}" dt="2022-05-02T10:30:47.450" v="3771"/>
          <ac:graphicFrameMkLst>
            <pc:docMk/>
            <pc:sldMk cId="0" sldId="302"/>
            <ac:graphicFrameMk id="2" creationId="{F8CC6030-1851-7440-8841-EAA8C004DB9F}"/>
          </ac:graphicFrameMkLst>
        </pc:graphicFrameChg>
      </pc:sldChg>
      <pc:sldChg chg="add del">
        <pc:chgData name="Ricardo Sérgio Souza e Sousa" userId="b2322a61-6b0f-42d2-a39f-a9a5f08999e4" providerId="ADAL" clId="{F7F79181-87BF-44AE-B828-0B657792DFE7}" dt="2022-04-28T13:46:22.940" v="3707" actId="47"/>
        <pc:sldMkLst>
          <pc:docMk/>
          <pc:sldMk cId="0" sldId="303"/>
        </pc:sldMkLst>
      </pc:sldChg>
      <pc:sldChg chg="addSp delSp modSp add mod modNotes">
        <pc:chgData name="Ricardo Sérgio Souza e Sousa" userId="b2322a61-6b0f-42d2-a39f-a9a5f08999e4" providerId="ADAL" clId="{F7F79181-87BF-44AE-B828-0B657792DFE7}" dt="2022-05-13T11:09:32.014" v="7961"/>
        <pc:sldMkLst>
          <pc:docMk/>
          <pc:sldMk cId="0" sldId="305"/>
        </pc:sldMkLst>
        <pc:spChg chg="mod">
          <ac:chgData name="Ricardo Sérgio Souza e Sousa" userId="b2322a61-6b0f-42d2-a39f-a9a5f08999e4" providerId="ADAL" clId="{F7F79181-87BF-44AE-B828-0B657792DFE7}" dt="2022-04-28T13:31:39.798" v="3435" actId="207"/>
          <ac:spMkLst>
            <pc:docMk/>
            <pc:sldMk cId="0" sldId="305"/>
            <ac:spMk id="11" creationId="{FED4A9B2-CFA8-4725-91AC-4861B6EA13EB}"/>
          </ac:spMkLst>
        </pc:spChg>
        <pc:spChg chg="add mod">
          <ac:chgData name="Ricardo Sérgio Souza e Sousa" userId="b2322a61-6b0f-42d2-a39f-a9a5f08999e4" providerId="ADAL" clId="{F7F79181-87BF-44AE-B828-0B657792DFE7}" dt="2022-04-28T13:31:27.450" v="3432" actId="20577"/>
          <ac:spMkLst>
            <pc:docMk/>
            <pc:sldMk cId="0" sldId="305"/>
            <ac:spMk id="13" creationId="{7215C33C-DCC8-4B1F-ABA9-9ADDFE0D9B14}"/>
          </ac:spMkLst>
        </pc:spChg>
        <pc:spChg chg="mod">
          <ac:chgData name="Ricardo Sérgio Souza e Sousa" userId="b2322a61-6b0f-42d2-a39f-a9a5f08999e4" providerId="ADAL" clId="{F7F79181-87BF-44AE-B828-0B657792DFE7}" dt="2022-04-28T13:31:55.617" v="3437" actId="207"/>
          <ac:spMkLst>
            <pc:docMk/>
            <pc:sldMk cId="0" sldId="305"/>
            <ac:spMk id="51" creationId="{B7B55E31-5EDB-409F-B8F3-C0EDF6DC618A}"/>
          </ac:spMkLst>
        </pc:spChg>
        <pc:spChg chg="mod">
          <ac:chgData name="Ricardo Sérgio Souza e Sousa" userId="b2322a61-6b0f-42d2-a39f-a9a5f08999e4" providerId="ADAL" clId="{F7F79181-87BF-44AE-B828-0B657792DFE7}" dt="2022-04-28T13:32:10.037" v="3439" actId="207"/>
          <ac:spMkLst>
            <pc:docMk/>
            <pc:sldMk cId="0" sldId="305"/>
            <ac:spMk id="52" creationId="{902AE055-BF56-466A-9937-406C8140B172}"/>
          </ac:spMkLst>
        </pc:spChg>
        <pc:spChg chg="mod">
          <ac:chgData name="Ricardo Sérgio Souza e Sousa" userId="b2322a61-6b0f-42d2-a39f-a9a5f08999e4" providerId="ADAL" clId="{F7F79181-87BF-44AE-B828-0B657792DFE7}" dt="2022-04-28T13:32:41.663" v="3447" actId="207"/>
          <ac:spMkLst>
            <pc:docMk/>
            <pc:sldMk cId="0" sldId="305"/>
            <ac:spMk id="53" creationId="{396A56DD-E0B5-4051-A936-11800EA04677}"/>
          </ac:spMkLst>
        </pc:spChg>
        <pc:spChg chg="mod">
          <ac:chgData name="Ricardo Sérgio Souza e Sousa" userId="b2322a61-6b0f-42d2-a39f-a9a5f08999e4" providerId="ADAL" clId="{F7F79181-87BF-44AE-B828-0B657792DFE7}" dt="2022-04-28T13:32:31.919" v="3444" actId="122"/>
          <ac:spMkLst>
            <pc:docMk/>
            <pc:sldMk cId="0" sldId="305"/>
            <ac:spMk id="55" creationId="{DF255DAF-CB94-4DD4-BBBB-E6C21BC17D15}"/>
          </ac:spMkLst>
        </pc:spChg>
        <pc:spChg chg="mod">
          <ac:chgData name="Ricardo Sérgio Souza e Sousa" userId="b2322a61-6b0f-42d2-a39f-a9a5f08999e4" providerId="ADAL" clId="{F7F79181-87BF-44AE-B828-0B657792DFE7}" dt="2022-04-28T13:32:34.299" v="3445" actId="122"/>
          <ac:spMkLst>
            <pc:docMk/>
            <pc:sldMk cId="0" sldId="305"/>
            <ac:spMk id="56" creationId="{552F9EE8-3CE8-485E-A28A-328AC8FCD800}"/>
          </ac:spMkLst>
        </pc:spChg>
        <pc:spChg chg="mod">
          <ac:chgData name="Ricardo Sérgio Souza e Sousa" userId="b2322a61-6b0f-42d2-a39f-a9a5f08999e4" providerId="ADAL" clId="{F7F79181-87BF-44AE-B828-0B657792DFE7}" dt="2022-04-28T13:32:43.959" v="3448" actId="207"/>
          <ac:spMkLst>
            <pc:docMk/>
            <pc:sldMk cId="0" sldId="305"/>
            <ac:spMk id="60" creationId="{C1B2D0A7-309F-4054-9DCB-731081192C8F}"/>
          </ac:spMkLst>
        </pc:spChg>
        <pc:spChg chg="del">
          <ac:chgData name="Ricardo Sérgio Souza e Sousa" userId="b2322a61-6b0f-42d2-a39f-a9a5f08999e4" providerId="ADAL" clId="{F7F79181-87BF-44AE-B828-0B657792DFE7}" dt="2022-04-28T13:30:53.441" v="3362" actId="478"/>
          <ac:spMkLst>
            <pc:docMk/>
            <pc:sldMk cId="0" sldId="305"/>
            <ac:spMk id="3075" creationId="{C945EF25-DD21-4B3C-B04D-D752E80E53C1}"/>
          </ac:spMkLst>
        </pc:spChg>
      </pc:sldChg>
      <pc:sldChg chg="addSp delSp modSp add del mod ord modClrScheme modAnim chgLayout">
        <pc:chgData name="Ricardo Sérgio Souza e Sousa" userId="b2322a61-6b0f-42d2-a39f-a9a5f08999e4" providerId="ADAL" clId="{F7F79181-87BF-44AE-B828-0B657792DFE7}" dt="2022-04-28T12:17:54.088" v="964" actId="20577"/>
        <pc:sldMkLst>
          <pc:docMk/>
          <pc:sldMk cId="0" sldId="306"/>
        </pc:sldMkLst>
        <pc:spChg chg="add mod">
          <ac:chgData name="Ricardo Sérgio Souza e Sousa" userId="b2322a61-6b0f-42d2-a39f-a9a5f08999e4" providerId="ADAL" clId="{F7F79181-87BF-44AE-B828-0B657792DFE7}" dt="2022-04-28T12:15:48.841" v="824" actId="20577"/>
          <ac:spMkLst>
            <pc:docMk/>
            <pc:sldMk cId="0" sldId="306"/>
            <ac:spMk id="5" creationId="{259A33B9-E9FF-4FE0-9DB9-48B670D4CE66}"/>
          </ac:spMkLst>
        </pc:spChg>
        <pc:spChg chg="del mod ord">
          <ac:chgData name="Ricardo Sérgio Souza e Sousa" userId="b2322a61-6b0f-42d2-a39f-a9a5f08999e4" providerId="ADAL" clId="{F7F79181-87BF-44AE-B828-0B657792DFE7}" dt="2022-04-28T12:15:51.846" v="825" actId="478"/>
          <ac:spMkLst>
            <pc:docMk/>
            <pc:sldMk cId="0" sldId="306"/>
            <ac:spMk id="21507" creationId="{00000000-0000-0000-0000-000000000000}"/>
          </ac:spMkLst>
        </pc:spChg>
        <pc:spChg chg="mod ord">
          <ac:chgData name="Ricardo Sérgio Souza e Sousa" userId="b2322a61-6b0f-42d2-a39f-a9a5f08999e4" providerId="ADAL" clId="{F7F79181-87BF-44AE-B828-0B657792DFE7}" dt="2022-04-28T12:17:54.088" v="964" actId="20577"/>
          <ac:spMkLst>
            <pc:docMk/>
            <pc:sldMk cId="0" sldId="306"/>
            <ac:spMk id="21508" creationId="{00000000-0000-0000-0000-000000000000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4-28T12:15:52.367" v="841"/>
          <ac:graphicFrameMkLst>
            <pc:docMk/>
            <pc:sldMk cId="0" sldId="306"/>
            <ac:graphicFrameMk id="2" creationId="{F6203A2D-0B2A-4106-AE72-83E3154329E8}"/>
          </ac:graphicFrameMkLst>
        </pc:graphicFrameChg>
      </pc:sldChg>
      <pc:sldChg chg="del">
        <pc:chgData name="Ricardo Sérgio Souza e Sousa" userId="b2322a61-6b0f-42d2-a39f-a9a5f08999e4" providerId="ADAL" clId="{F7F79181-87BF-44AE-B828-0B657792DFE7}" dt="2022-04-28T11:59:57.616" v="389" actId="47"/>
        <pc:sldMkLst>
          <pc:docMk/>
          <pc:sldMk cId="0" sldId="307"/>
        </pc:sldMkLst>
      </pc:sldChg>
      <pc:sldChg chg="del">
        <pc:chgData name="Ricardo Sérgio Souza e Sousa" userId="b2322a61-6b0f-42d2-a39f-a9a5f08999e4" providerId="ADAL" clId="{F7F79181-87BF-44AE-B828-0B657792DFE7}" dt="2022-04-28T12:00:13.469" v="411" actId="47"/>
        <pc:sldMkLst>
          <pc:docMk/>
          <pc:sldMk cId="0" sldId="308"/>
        </pc:sldMkLst>
      </pc:sldChg>
      <pc:sldChg chg="addSp delSp modSp add del mod ord modClrScheme modAnim chgLayout">
        <pc:chgData name="Ricardo Sérgio Souza e Sousa" userId="b2322a61-6b0f-42d2-a39f-a9a5f08999e4" providerId="ADAL" clId="{F7F79181-87BF-44AE-B828-0B657792DFE7}" dt="2022-04-28T12:29:10.873" v="1104" actId="1076"/>
        <pc:sldMkLst>
          <pc:docMk/>
          <pc:sldMk cId="0" sldId="309"/>
        </pc:sldMkLst>
        <pc:spChg chg="add mod">
          <ac:chgData name="Ricardo Sérgio Souza e Sousa" userId="b2322a61-6b0f-42d2-a39f-a9a5f08999e4" providerId="ADAL" clId="{F7F79181-87BF-44AE-B828-0B657792DFE7}" dt="2022-04-28T12:28:17.040" v="1088"/>
          <ac:spMkLst>
            <pc:docMk/>
            <pc:sldMk cId="0" sldId="309"/>
            <ac:spMk id="5" creationId="{C59658F1-0471-4D61-8C84-6D413374CAA5}"/>
          </ac:spMkLst>
        </pc:spChg>
        <pc:spChg chg="del mod ord">
          <ac:chgData name="Ricardo Sérgio Souza e Sousa" userId="b2322a61-6b0f-42d2-a39f-a9a5f08999e4" providerId="ADAL" clId="{F7F79181-87BF-44AE-B828-0B657792DFE7}" dt="2022-04-28T12:28:11.230" v="1083" actId="478"/>
          <ac:spMkLst>
            <pc:docMk/>
            <pc:sldMk cId="0" sldId="309"/>
            <ac:spMk id="22531" creationId="{00000000-0000-0000-0000-000000000000}"/>
          </ac:spMkLst>
        </pc:spChg>
        <pc:spChg chg="mod ord">
          <ac:chgData name="Ricardo Sérgio Souza e Sousa" userId="b2322a61-6b0f-42d2-a39f-a9a5f08999e4" providerId="ADAL" clId="{F7F79181-87BF-44AE-B828-0B657792DFE7}" dt="2022-04-28T12:29:10.873" v="1104" actId="1076"/>
          <ac:spMkLst>
            <pc:docMk/>
            <pc:sldMk cId="0" sldId="309"/>
            <ac:spMk id="22532" creationId="{00000000-0000-0000-0000-000000000000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4-28T12:28:11.768" v="1085"/>
          <ac:graphicFrameMkLst>
            <pc:docMk/>
            <pc:sldMk cId="0" sldId="309"/>
            <ac:graphicFrameMk id="2" creationId="{FB3EC990-0B29-41DB-8300-B77BE1C0E74F}"/>
          </ac:graphicFrameMkLst>
        </pc:graphicFrameChg>
      </pc:sldChg>
      <pc:sldChg chg="delSp modSp add del mod modClrScheme chgLayout">
        <pc:chgData name="Ricardo Sérgio Souza e Sousa" userId="b2322a61-6b0f-42d2-a39f-a9a5f08999e4" providerId="ADAL" clId="{F7F79181-87BF-44AE-B828-0B657792DFE7}" dt="2022-04-28T12:29:45.337" v="1112" actId="20577"/>
        <pc:sldMkLst>
          <pc:docMk/>
          <pc:sldMk cId="0" sldId="310"/>
        </pc:sldMkLst>
        <pc:spChg chg="del mod ord">
          <ac:chgData name="Ricardo Sérgio Souza e Sousa" userId="b2322a61-6b0f-42d2-a39f-a9a5f08999e4" providerId="ADAL" clId="{F7F79181-87BF-44AE-B828-0B657792DFE7}" dt="2022-04-28T12:11:52.697" v="706" actId="478"/>
          <ac:spMkLst>
            <pc:docMk/>
            <pc:sldMk cId="0" sldId="310"/>
            <ac:spMk id="9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29:45.337" v="1112" actId="20577"/>
          <ac:spMkLst>
            <pc:docMk/>
            <pc:sldMk cId="0" sldId="310"/>
            <ac:spMk id="225283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14:07.354" v="760" actId="113"/>
          <ac:spMkLst>
            <pc:docMk/>
            <pc:sldMk cId="0" sldId="310"/>
            <ac:spMk id="239622" creationId="{00000000-0000-0000-0000-000000000000}"/>
          </ac:spMkLst>
        </pc:spChg>
        <pc:graphicFrameChg chg="mod">
          <ac:chgData name="Ricardo Sérgio Souza e Sousa" userId="b2322a61-6b0f-42d2-a39f-a9a5f08999e4" providerId="ADAL" clId="{F7F79181-87BF-44AE-B828-0B657792DFE7}" dt="2022-04-28T12:27:35.782" v="1053"/>
          <ac:graphicFrameMkLst>
            <pc:docMk/>
            <pc:sldMk cId="0" sldId="310"/>
            <ac:graphicFrameMk id="225282" creationId="{00000000-0000-0000-0000-000000000000}"/>
          </ac:graphicFrameMkLst>
        </pc:graphicFrameChg>
      </pc:sldChg>
      <pc:sldChg chg="del">
        <pc:chgData name="Ricardo Sérgio Souza e Sousa" userId="b2322a61-6b0f-42d2-a39f-a9a5f08999e4" providerId="ADAL" clId="{F7F79181-87BF-44AE-B828-0B657792DFE7}" dt="2022-04-28T11:59:57.215" v="388" actId="47"/>
        <pc:sldMkLst>
          <pc:docMk/>
          <pc:sldMk cId="0" sldId="311"/>
        </pc:sldMkLst>
      </pc:sldChg>
      <pc:sldChg chg="addSp delSp modSp add del mod modClrScheme chgLayout">
        <pc:chgData name="Ricardo Sérgio Souza e Sousa" userId="b2322a61-6b0f-42d2-a39f-a9a5f08999e4" providerId="ADAL" clId="{F7F79181-87BF-44AE-B828-0B657792DFE7}" dt="2022-04-28T12:52:48.218" v="1873" actId="1035"/>
        <pc:sldMkLst>
          <pc:docMk/>
          <pc:sldMk cId="0" sldId="312"/>
        </pc:sldMkLst>
        <pc:spChg chg="mod">
          <ac:chgData name="Ricardo Sérgio Souza e Sousa" userId="b2322a61-6b0f-42d2-a39f-a9a5f08999e4" providerId="ADAL" clId="{F7F79181-87BF-44AE-B828-0B657792DFE7}" dt="2022-04-28T12:52:48.218" v="1873" actId="1035"/>
          <ac:spMkLst>
            <pc:docMk/>
            <pc:sldMk cId="0" sldId="312"/>
            <ac:spMk id="71" creationId="{00000000-0000-0000-0000-000000000000}"/>
          </ac:spMkLst>
        </pc:spChg>
        <pc:spChg chg="del">
          <ac:chgData name="Ricardo Sérgio Souza e Sousa" userId="b2322a61-6b0f-42d2-a39f-a9a5f08999e4" providerId="ADAL" clId="{F7F79181-87BF-44AE-B828-0B657792DFE7}" dt="2022-04-28T12:31:46.129" v="1198" actId="478"/>
          <ac:spMkLst>
            <pc:docMk/>
            <pc:sldMk cId="0" sldId="312"/>
            <ac:spMk id="72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4-28T12:31:46.614" v="1199"/>
          <ac:spMkLst>
            <pc:docMk/>
            <pc:sldMk cId="0" sldId="312"/>
            <ac:spMk id="73" creationId="{C4F03CED-0F41-48CA-A401-C8ACF86E3F3F}"/>
          </ac:spMkLst>
        </pc:spChg>
        <pc:spChg chg="mod">
          <ac:chgData name="Ricardo Sérgio Souza e Sousa" userId="b2322a61-6b0f-42d2-a39f-a9a5f08999e4" providerId="ADAL" clId="{F7F79181-87BF-44AE-B828-0B657792DFE7}" dt="2022-04-28T12:34:23.516" v="1233" actId="1076"/>
          <ac:spMkLst>
            <pc:docMk/>
            <pc:sldMk cId="0" sldId="312"/>
            <ac:spMk id="2059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35:50.675" v="1268" actId="1035"/>
          <ac:spMkLst>
            <pc:docMk/>
            <pc:sldMk cId="0" sldId="312"/>
            <ac:spMk id="206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35:28.178" v="1246" actId="1076"/>
          <ac:spMkLst>
            <pc:docMk/>
            <pc:sldMk cId="0" sldId="312"/>
            <ac:spMk id="2063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35:44.775" v="1261" actId="1036"/>
          <ac:spMkLst>
            <pc:docMk/>
            <pc:sldMk cId="0" sldId="312"/>
            <ac:spMk id="2064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36:23.801" v="1275" actId="1076"/>
          <ac:spMkLst>
            <pc:docMk/>
            <pc:sldMk cId="0" sldId="312"/>
            <ac:spMk id="2147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33:23.503" v="1210" actId="20577"/>
          <ac:spMkLst>
            <pc:docMk/>
            <pc:sldMk cId="0" sldId="312"/>
            <ac:spMk id="2166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34:03.322" v="1229" actId="14100"/>
          <ac:spMkLst>
            <pc:docMk/>
            <pc:sldMk cId="0" sldId="312"/>
            <ac:spMk id="2184" creationId="{00000000-0000-0000-0000-000000000000}"/>
          </ac:spMkLst>
        </pc:spChg>
        <pc:grpChg chg="mod">
          <ac:chgData name="Ricardo Sérgio Souza e Sousa" userId="b2322a61-6b0f-42d2-a39f-a9a5f08999e4" providerId="ADAL" clId="{F7F79181-87BF-44AE-B828-0B657792DFE7}" dt="2022-04-28T12:36:15.490" v="1271" actId="1076"/>
          <ac:grpSpMkLst>
            <pc:docMk/>
            <pc:sldMk cId="0" sldId="312"/>
            <ac:grpSpMk id="2" creationId="{00000000-0000-0000-0000-000000000000}"/>
          </ac:grpSpMkLst>
        </pc:grpChg>
        <pc:grpChg chg="mod">
          <ac:chgData name="Ricardo Sérgio Souza e Sousa" userId="b2322a61-6b0f-42d2-a39f-a9a5f08999e4" providerId="ADAL" clId="{F7F79181-87BF-44AE-B828-0B657792DFE7}" dt="2022-04-28T12:36:11.864" v="1270" actId="14100"/>
          <ac:grpSpMkLst>
            <pc:docMk/>
            <pc:sldMk cId="0" sldId="312"/>
            <ac:grpSpMk id="4" creationId="{00000000-0000-0000-0000-000000000000}"/>
          </ac:grpSpMkLst>
        </pc:grpChg>
        <pc:grpChg chg="mod">
          <ac:chgData name="Ricardo Sérgio Souza e Sousa" userId="b2322a61-6b0f-42d2-a39f-a9a5f08999e4" providerId="ADAL" clId="{F7F79181-87BF-44AE-B828-0B657792DFE7}" dt="2022-04-28T12:36:27.548" v="1276" actId="1076"/>
          <ac:grpSpMkLst>
            <pc:docMk/>
            <pc:sldMk cId="0" sldId="312"/>
            <ac:grpSpMk id="5" creationId="{00000000-0000-0000-0000-000000000000}"/>
          </ac:grpSpMkLst>
        </pc:grpChg>
        <pc:grpChg chg="mod">
          <ac:chgData name="Ricardo Sérgio Souza e Sousa" userId="b2322a61-6b0f-42d2-a39f-a9a5f08999e4" providerId="ADAL" clId="{F7F79181-87BF-44AE-B828-0B657792DFE7}" dt="2022-04-28T12:36:23.801" v="1275" actId="1076"/>
          <ac:grpSpMkLst>
            <pc:docMk/>
            <pc:sldMk cId="0" sldId="312"/>
            <ac:grpSpMk id="7" creationId="{00000000-0000-0000-0000-000000000000}"/>
          </ac:grpSpMkLst>
        </pc:grpChg>
        <pc:grpChg chg="mod">
          <ac:chgData name="Ricardo Sérgio Souza e Sousa" userId="b2322a61-6b0f-42d2-a39f-a9a5f08999e4" providerId="ADAL" clId="{F7F79181-87BF-44AE-B828-0B657792DFE7}" dt="2022-04-28T12:34:31.098" v="1235" actId="1076"/>
          <ac:grpSpMkLst>
            <pc:docMk/>
            <pc:sldMk cId="0" sldId="312"/>
            <ac:grpSpMk id="8" creationId="{00000000-0000-0000-0000-000000000000}"/>
          </ac:grpSpMkLst>
        </pc:grpChg>
        <pc:grpChg chg="mod">
          <ac:chgData name="Ricardo Sérgio Souza e Sousa" userId="b2322a61-6b0f-42d2-a39f-a9a5f08999e4" providerId="ADAL" clId="{F7F79181-87BF-44AE-B828-0B657792DFE7}" dt="2022-04-28T12:34:34.158" v="1236" actId="1076"/>
          <ac:grpSpMkLst>
            <pc:docMk/>
            <pc:sldMk cId="0" sldId="312"/>
            <ac:grpSpMk id="10" creationId="{00000000-0000-0000-0000-000000000000}"/>
          </ac:grpSpMkLst>
        </pc:grpChg>
        <pc:graphicFrameChg chg="mod">
          <ac:chgData name="Ricardo Sérgio Souza e Sousa" userId="b2322a61-6b0f-42d2-a39f-a9a5f08999e4" providerId="ADAL" clId="{F7F79181-87BF-44AE-B828-0B657792DFE7}" dt="2022-04-28T12:34:42.195" v="1237" actId="1076"/>
          <ac:graphicFrameMkLst>
            <pc:docMk/>
            <pc:sldMk cId="0" sldId="312"/>
            <ac:graphicFrameMk id="2189" creationId="{00000000-0000-0000-0000-000000000000}"/>
          </ac:graphicFrameMkLst>
        </pc:graphicFrameChg>
        <pc:graphicFrameChg chg="mod">
          <ac:chgData name="Ricardo Sérgio Souza e Sousa" userId="b2322a61-6b0f-42d2-a39f-a9a5f08999e4" providerId="ADAL" clId="{F7F79181-87BF-44AE-B828-0B657792DFE7}" dt="2022-04-28T12:35:36.674" v="1249" actId="1076"/>
          <ac:graphicFrameMkLst>
            <pc:docMk/>
            <pc:sldMk cId="0" sldId="312"/>
            <ac:graphicFrameMk id="2190" creationId="{00000000-0000-0000-0000-000000000000}"/>
          </ac:graphicFrameMkLst>
        </pc:graphicFrameChg>
      </pc:sldChg>
      <pc:sldChg chg="modSp add del mod modClrScheme chgLayout">
        <pc:chgData name="Ricardo Sérgio Souza e Sousa" userId="b2322a61-6b0f-42d2-a39f-a9a5f08999e4" providerId="ADAL" clId="{F7F79181-87BF-44AE-B828-0B657792DFE7}" dt="2022-04-28T12:52:33.033" v="1856" actId="47"/>
        <pc:sldMkLst>
          <pc:docMk/>
          <pc:sldMk cId="0" sldId="313"/>
        </pc:sldMkLst>
        <pc:spChg chg="mod">
          <ac:chgData name="Ricardo Sérgio Souza e Sousa" userId="b2322a61-6b0f-42d2-a39f-a9a5f08999e4" providerId="ADAL" clId="{F7F79181-87BF-44AE-B828-0B657792DFE7}" dt="2022-04-28T12:33:38.580" v="1226" actId="20577"/>
          <ac:spMkLst>
            <pc:docMk/>
            <pc:sldMk cId="0" sldId="313"/>
            <ac:spMk id="2166" creationId="{00000000-0000-0000-0000-000000000000}"/>
          </ac:spMkLst>
        </pc:spChg>
        <pc:grpChg chg="mod">
          <ac:chgData name="Ricardo Sérgio Souza e Sousa" userId="b2322a61-6b0f-42d2-a39f-a9a5f08999e4" providerId="ADAL" clId="{F7F79181-87BF-44AE-B828-0B657792DFE7}" dt="2022-04-28T12:33:40.981" v="1227" actId="14100"/>
          <ac:grpSpMkLst>
            <pc:docMk/>
            <pc:sldMk cId="0" sldId="313"/>
            <ac:grpSpMk id="8" creationId="{00000000-0000-0000-0000-000000000000}"/>
          </ac:grpSpMkLst>
        </pc:grpChg>
      </pc:sldChg>
      <pc:sldChg chg="addSp delSp modSp add del mod modClrScheme chgLayout">
        <pc:chgData name="Ricardo Sérgio Souza e Sousa" userId="b2322a61-6b0f-42d2-a39f-a9a5f08999e4" providerId="ADAL" clId="{F7F79181-87BF-44AE-B828-0B657792DFE7}" dt="2022-04-28T13:04:25.164" v="2307" actId="20577"/>
        <pc:sldMkLst>
          <pc:docMk/>
          <pc:sldMk cId="0" sldId="314"/>
        </pc:sldMkLst>
        <pc:spChg chg="add mod">
          <ac:chgData name="Ricardo Sérgio Souza e Sousa" userId="b2322a61-6b0f-42d2-a39f-a9a5f08999e4" providerId="ADAL" clId="{F7F79181-87BF-44AE-B828-0B657792DFE7}" dt="2022-04-28T13:04:06.197" v="2268" actId="20577"/>
          <ac:spMkLst>
            <pc:docMk/>
            <pc:sldMk cId="0" sldId="314"/>
            <ac:spMk id="5" creationId="{29A83DAB-8032-4AA8-BBA6-11DB7B58282E}"/>
          </ac:spMkLst>
        </pc:spChg>
        <pc:spChg chg="mod ord">
          <ac:chgData name="Ricardo Sérgio Souza e Sousa" userId="b2322a61-6b0f-42d2-a39f-a9a5f08999e4" providerId="ADAL" clId="{F7F79181-87BF-44AE-B828-0B657792DFE7}" dt="2022-04-28T12:08:40.770" v="584"/>
          <ac:spMkLst>
            <pc:docMk/>
            <pc:sldMk cId="0" sldId="314"/>
            <ac:spMk id="7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3:04:25.164" v="2307" actId="20577"/>
          <ac:spMkLst>
            <pc:docMk/>
            <pc:sldMk cId="0" sldId="314"/>
            <ac:spMk id="556034" creationId="{00000000-0000-0000-0000-000000000000}"/>
          </ac:spMkLst>
        </pc:spChg>
        <pc:spChg chg="del">
          <ac:chgData name="Ricardo Sérgio Souza e Sousa" userId="b2322a61-6b0f-42d2-a39f-a9a5f08999e4" providerId="ADAL" clId="{F7F79181-87BF-44AE-B828-0B657792DFE7}" dt="2022-04-28T13:03:55.911" v="2251" actId="478"/>
          <ac:spMkLst>
            <pc:docMk/>
            <pc:sldMk cId="0" sldId="314"/>
            <ac:spMk id="556035" creationId="{00000000-0000-0000-0000-000000000000}"/>
          </ac:spMkLst>
        </pc:spChg>
      </pc:sldChg>
      <pc:sldChg chg="del">
        <pc:chgData name="Ricardo Sérgio Souza e Sousa" userId="b2322a61-6b0f-42d2-a39f-a9a5f08999e4" providerId="ADAL" clId="{F7F79181-87BF-44AE-B828-0B657792DFE7}" dt="2022-04-28T11:59:55.514" v="385" actId="47"/>
        <pc:sldMkLst>
          <pc:docMk/>
          <pc:sldMk cId="0" sldId="315"/>
        </pc:sldMkLst>
      </pc:sldChg>
      <pc:sldChg chg="del">
        <pc:chgData name="Ricardo Sérgio Souza e Sousa" userId="b2322a61-6b0f-42d2-a39f-a9a5f08999e4" providerId="ADAL" clId="{F7F79181-87BF-44AE-B828-0B657792DFE7}" dt="2022-04-28T11:59:55.068" v="384" actId="47"/>
        <pc:sldMkLst>
          <pc:docMk/>
          <pc:sldMk cId="0" sldId="316"/>
        </pc:sldMkLst>
      </pc:sldChg>
      <pc:sldChg chg="modSp add del mod modClrScheme chgLayout">
        <pc:chgData name="Ricardo Sérgio Souza e Sousa" userId="b2322a61-6b0f-42d2-a39f-a9a5f08999e4" providerId="ADAL" clId="{F7F79181-87BF-44AE-B828-0B657792DFE7}" dt="2022-04-28T12:18:50.370" v="987" actId="47"/>
        <pc:sldMkLst>
          <pc:docMk/>
          <pc:sldMk cId="0" sldId="317"/>
        </pc:sldMkLst>
        <pc:spChg chg="mod ord">
          <ac:chgData name="Ricardo Sérgio Souza e Sousa" userId="b2322a61-6b0f-42d2-a39f-a9a5f08999e4" providerId="ADAL" clId="{F7F79181-87BF-44AE-B828-0B657792DFE7}" dt="2022-04-28T12:08:40.770" v="584"/>
          <ac:spMkLst>
            <pc:docMk/>
            <pc:sldMk cId="0" sldId="317"/>
            <ac:spMk id="36868" creationId="{00000000-0000-0000-0000-000000000000}"/>
          </ac:spMkLst>
        </pc:spChg>
      </pc:sldChg>
      <pc:sldChg chg="modSp add del mod ord modClrScheme chgLayout">
        <pc:chgData name="Ricardo Sérgio Souza e Sousa" userId="b2322a61-6b0f-42d2-a39f-a9a5f08999e4" providerId="ADAL" clId="{F7F79181-87BF-44AE-B828-0B657792DFE7}" dt="2022-05-17T14:30:08.704" v="9139"/>
        <pc:sldMkLst>
          <pc:docMk/>
          <pc:sldMk cId="0" sldId="318"/>
        </pc:sldMkLst>
        <pc:spChg chg="mod ord">
          <ac:chgData name="Ricardo Sérgio Souza e Sousa" userId="b2322a61-6b0f-42d2-a39f-a9a5f08999e4" providerId="ADAL" clId="{F7F79181-87BF-44AE-B828-0B657792DFE7}" dt="2022-04-28T12:08:40.770" v="584"/>
          <ac:spMkLst>
            <pc:docMk/>
            <pc:sldMk cId="0" sldId="318"/>
            <ac:spMk id="6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3:08:17.908" v="2463" actId="20577"/>
          <ac:spMkLst>
            <pc:docMk/>
            <pc:sldMk cId="0" sldId="318"/>
            <ac:spMk id="644098" creationId="{00000000-0000-0000-0000-000000000000}"/>
          </ac:spMkLst>
        </pc:spChg>
      </pc:sldChg>
      <pc:sldChg chg="del">
        <pc:chgData name="Ricardo Sérgio Souza e Sousa" userId="b2322a61-6b0f-42d2-a39f-a9a5f08999e4" providerId="ADAL" clId="{F7F79181-87BF-44AE-B828-0B657792DFE7}" dt="2022-04-28T11:59:53.952" v="382" actId="47"/>
        <pc:sldMkLst>
          <pc:docMk/>
          <pc:sldMk cId="0" sldId="319"/>
        </pc:sldMkLst>
      </pc:sldChg>
      <pc:sldChg chg="addSp delSp modSp add mod modClrScheme chgLayout">
        <pc:chgData name="Ricardo Sérgio Souza e Sousa" userId="b2322a61-6b0f-42d2-a39f-a9a5f08999e4" providerId="ADAL" clId="{F7F79181-87BF-44AE-B828-0B657792DFE7}" dt="2022-04-28T12:48:29.230" v="1548" actId="1037"/>
        <pc:sldMkLst>
          <pc:docMk/>
          <pc:sldMk cId="0" sldId="320"/>
        </pc:sldMkLst>
        <pc:spChg chg="mod">
          <ac:chgData name="Ricardo Sérgio Souza e Sousa" userId="b2322a61-6b0f-42d2-a39f-a9a5f08999e4" providerId="ADAL" clId="{F7F79181-87BF-44AE-B828-0B657792DFE7}" dt="2022-04-28T12:41:42.577" v="1391" actId="1037"/>
          <ac:spMkLst>
            <pc:docMk/>
            <pc:sldMk cId="0" sldId="320"/>
            <ac:spMk id="2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41:42.577" v="1391" actId="1037"/>
          <ac:spMkLst>
            <pc:docMk/>
            <pc:sldMk cId="0" sldId="320"/>
            <ac:spMk id="29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41:42.577" v="1391" actId="1037"/>
          <ac:spMkLst>
            <pc:docMk/>
            <pc:sldMk cId="0" sldId="320"/>
            <ac:spMk id="30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41:42.577" v="1391" actId="1037"/>
          <ac:spMkLst>
            <pc:docMk/>
            <pc:sldMk cId="0" sldId="320"/>
            <ac:spMk id="31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41:42.577" v="1391" actId="1037"/>
          <ac:spMkLst>
            <pc:docMk/>
            <pc:sldMk cId="0" sldId="320"/>
            <ac:spMk id="3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30:55.851" v="1197" actId="207"/>
          <ac:spMkLst>
            <pc:docMk/>
            <pc:sldMk cId="0" sldId="320"/>
            <ac:spMk id="35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30:55.851" v="1197" actId="207"/>
          <ac:spMkLst>
            <pc:docMk/>
            <pc:sldMk cId="0" sldId="320"/>
            <ac:spMk id="36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4-28T12:30:08.965" v="1147" actId="20577"/>
          <ac:spMkLst>
            <pc:docMk/>
            <pc:sldMk cId="0" sldId="320"/>
            <ac:spMk id="38" creationId="{E7C084A9-40F1-49CF-9D47-14ACEE6667DE}"/>
          </ac:spMkLst>
        </pc:spChg>
        <pc:spChg chg="mod">
          <ac:chgData name="Ricardo Sérgio Souza e Sousa" userId="b2322a61-6b0f-42d2-a39f-a9a5f08999e4" providerId="ADAL" clId="{F7F79181-87BF-44AE-B828-0B657792DFE7}" dt="2022-04-28T12:44:57.901" v="1433" actId="1038"/>
          <ac:spMkLst>
            <pc:docMk/>
            <pc:sldMk cId="0" sldId="320"/>
            <ac:spMk id="40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41:42.577" v="1391" actId="1037"/>
          <ac:spMkLst>
            <pc:docMk/>
            <pc:sldMk cId="0" sldId="320"/>
            <ac:spMk id="41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44:57.901" v="1433" actId="1038"/>
          <ac:spMkLst>
            <pc:docMk/>
            <pc:sldMk cId="0" sldId="320"/>
            <ac:spMk id="42" creationId="{00000000-0000-0000-0000-000000000000}"/>
          </ac:spMkLst>
        </pc:spChg>
        <pc:spChg chg="add del mod">
          <ac:chgData name="Ricardo Sérgio Souza e Sousa" userId="b2322a61-6b0f-42d2-a39f-a9a5f08999e4" providerId="ADAL" clId="{F7F79181-87BF-44AE-B828-0B657792DFE7}" dt="2022-04-28T12:39:46.846" v="1280"/>
          <ac:spMkLst>
            <pc:docMk/>
            <pc:sldMk cId="0" sldId="320"/>
            <ac:spMk id="43" creationId="{11016315-CEC8-467B-8C28-4656ACBC5BC9}"/>
          </ac:spMkLst>
        </pc:spChg>
        <pc:spChg chg="mod">
          <ac:chgData name="Ricardo Sérgio Souza e Sousa" userId="b2322a61-6b0f-42d2-a39f-a9a5f08999e4" providerId="ADAL" clId="{F7F79181-87BF-44AE-B828-0B657792DFE7}" dt="2022-04-28T12:45:02.989" v="1444" actId="1037"/>
          <ac:spMkLst>
            <pc:docMk/>
            <pc:sldMk cId="0" sldId="320"/>
            <ac:spMk id="44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41:42.577" v="1391" actId="1037"/>
          <ac:spMkLst>
            <pc:docMk/>
            <pc:sldMk cId="0" sldId="320"/>
            <ac:spMk id="45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4-28T12:48:29.230" v="1548" actId="1037"/>
          <ac:spMkLst>
            <pc:docMk/>
            <pc:sldMk cId="0" sldId="320"/>
            <ac:spMk id="46" creationId="{61E40709-03BF-4B66-BCB8-0561750A443C}"/>
          </ac:spMkLst>
        </pc:spChg>
        <pc:spChg chg="mod">
          <ac:chgData name="Ricardo Sérgio Souza e Sousa" userId="b2322a61-6b0f-42d2-a39f-a9a5f08999e4" providerId="ADAL" clId="{F7F79181-87BF-44AE-B828-0B657792DFE7}" dt="2022-04-28T12:30:55.851" v="1197" actId="207"/>
          <ac:spMkLst>
            <pc:docMk/>
            <pc:sldMk cId="0" sldId="320"/>
            <ac:spMk id="54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45:02.989" v="1444" actId="1037"/>
          <ac:spMkLst>
            <pc:docMk/>
            <pc:sldMk cId="0" sldId="320"/>
            <ac:spMk id="56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2:41:42.577" v="1391" actId="1037"/>
          <ac:spMkLst>
            <pc:docMk/>
            <pc:sldMk cId="0" sldId="320"/>
            <ac:spMk id="57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4-28T12:48:29.230" v="1548" actId="1037"/>
          <ac:spMkLst>
            <pc:docMk/>
            <pc:sldMk cId="0" sldId="320"/>
            <ac:spMk id="58" creationId="{0A2B2CFF-4DD2-4DAD-8624-199A80583C6F}"/>
          </ac:spMkLst>
        </pc:spChg>
        <pc:spChg chg="add mod">
          <ac:chgData name="Ricardo Sérgio Souza e Sousa" userId="b2322a61-6b0f-42d2-a39f-a9a5f08999e4" providerId="ADAL" clId="{F7F79181-87BF-44AE-B828-0B657792DFE7}" dt="2022-04-28T12:48:24.429" v="1534" actId="1038"/>
          <ac:spMkLst>
            <pc:docMk/>
            <pc:sldMk cId="0" sldId="320"/>
            <ac:spMk id="59" creationId="{F35093F4-F5BE-4B71-A64C-6E892A8512EB}"/>
          </ac:spMkLst>
        </pc:spChg>
        <pc:spChg chg="add mod">
          <ac:chgData name="Ricardo Sérgio Souza e Sousa" userId="b2322a61-6b0f-42d2-a39f-a9a5f08999e4" providerId="ADAL" clId="{F7F79181-87BF-44AE-B828-0B657792DFE7}" dt="2022-04-28T12:48:24.429" v="1534" actId="1038"/>
          <ac:spMkLst>
            <pc:docMk/>
            <pc:sldMk cId="0" sldId="320"/>
            <ac:spMk id="60" creationId="{F66F7AFB-881C-4D8A-8482-DE34A3F90047}"/>
          </ac:spMkLst>
        </pc:spChg>
        <pc:spChg chg="del mod">
          <ac:chgData name="Ricardo Sérgio Souza e Sousa" userId="b2322a61-6b0f-42d2-a39f-a9a5f08999e4" providerId="ADAL" clId="{F7F79181-87BF-44AE-B828-0B657792DFE7}" dt="2022-04-28T12:29:55.236" v="1114" actId="478"/>
          <ac:spMkLst>
            <pc:docMk/>
            <pc:sldMk cId="0" sldId="320"/>
            <ac:spMk id="359427" creationId="{00000000-0000-0000-0000-000000000000}"/>
          </ac:spMkLst>
        </pc:spChg>
      </pc:sldChg>
      <pc:sldChg chg="addSp delSp modSp add del mod modClrScheme chgLayout">
        <pc:chgData name="Ricardo Sérgio Souza e Sousa" userId="b2322a61-6b0f-42d2-a39f-a9a5f08999e4" providerId="ADAL" clId="{F7F79181-87BF-44AE-B828-0B657792DFE7}" dt="2022-04-28T13:15:28.090" v="2771"/>
        <pc:sldMkLst>
          <pc:docMk/>
          <pc:sldMk cId="0" sldId="321"/>
        </pc:sldMkLst>
        <pc:spChg chg="add del mod modVis">
          <ac:chgData name="Ricardo Sérgio Souza e Sousa" userId="b2322a61-6b0f-42d2-a39f-a9a5f08999e4" providerId="ADAL" clId="{F7F79181-87BF-44AE-B828-0B657792DFE7}" dt="2022-04-28T12:53:49.156" v="2075"/>
          <ac:spMkLst>
            <pc:docMk/>
            <pc:sldMk cId="0" sldId="321"/>
            <ac:spMk id="2" creationId="{1843DB35-12EC-4E36-B434-600D3FC50BC7}"/>
          </ac:spMkLst>
        </pc:spChg>
        <pc:spChg chg="add del mod modVis">
          <ac:chgData name="Ricardo Sérgio Souza e Sousa" userId="b2322a61-6b0f-42d2-a39f-a9a5f08999e4" providerId="ADAL" clId="{F7F79181-87BF-44AE-B828-0B657792DFE7}" dt="2022-04-28T13:15:28.087" v="2769"/>
          <ac:spMkLst>
            <pc:docMk/>
            <pc:sldMk cId="0" sldId="321"/>
            <ac:spMk id="4" creationId="{22129A26-C1B2-4510-9034-1FB185CF096F}"/>
          </ac:spMkLst>
        </pc:spChg>
        <pc:spChg chg="add mod">
          <ac:chgData name="Ricardo Sérgio Souza e Sousa" userId="b2322a61-6b0f-42d2-a39f-a9a5f08999e4" providerId="ADAL" clId="{F7F79181-87BF-44AE-B828-0B657792DFE7}" dt="2022-04-28T12:55:43.478" v="2136" actId="20577"/>
          <ac:spMkLst>
            <pc:docMk/>
            <pc:sldMk cId="0" sldId="321"/>
            <ac:spMk id="5" creationId="{A866570B-1E8C-4A89-BC61-32A3CF971F71}"/>
          </ac:spMkLst>
        </pc:spChg>
        <pc:spChg chg="del">
          <ac:chgData name="Ricardo Sérgio Souza e Sousa" userId="b2322a61-6b0f-42d2-a39f-a9a5f08999e4" providerId="ADAL" clId="{F7F79181-87BF-44AE-B828-0B657792DFE7}" dt="2022-04-28T12:53:27.021" v="1874" actId="478"/>
          <ac:spMkLst>
            <pc:docMk/>
            <pc:sldMk cId="0" sldId="321"/>
            <ac:spMk id="6" creationId="{00000000-0000-0000-0000-000000000000}"/>
          </ac:spMkLst>
        </pc:spChg>
        <pc:spChg chg="mod ord">
          <ac:chgData name="Ricardo Sérgio Souza e Sousa" userId="b2322a61-6b0f-42d2-a39f-a9a5f08999e4" providerId="ADAL" clId="{F7F79181-87BF-44AE-B828-0B657792DFE7}" dt="2022-04-28T13:15:27.877" v="2595" actId="948"/>
          <ac:spMkLst>
            <pc:docMk/>
            <pc:sldMk cId="0" sldId="321"/>
            <ac:spMk id="30723" creationId="{00000000-0000-0000-0000-000000000000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4-28T13:15:28.090" v="2771"/>
          <ac:graphicFrameMkLst>
            <pc:docMk/>
            <pc:sldMk cId="0" sldId="321"/>
            <ac:graphicFrameMk id="3" creationId="{A075FFD7-7726-46E9-AF53-639B3D7F2E47}"/>
          </ac:graphicFrameMkLst>
        </pc:graphicFrameChg>
      </pc:sldChg>
      <pc:sldChg chg="add del">
        <pc:chgData name="Ricardo Sérgio Souza e Sousa" userId="b2322a61-6b0f-42d2-a39f-a9a5f08999e4" providerId="ADAL" clId="{F7F79181-87BF-44AE-B828-0B657792DFE7}" dt="2022-05-02T16:01:46.501" v="6794" actId="47"/>
        <pc:sldMkLst>
          <pc:docMk/>
          <pc:sldMk cId="0" sldId="322"/>
        </pc:sldMkLst>
      </pc:sldChg>
      <pc:sldChg chg="del">
        <pc:chgData name="Ricardo Sérgio Souza e Sousa" userId="b2322a61-6b0f-42d2-a39f-a9a5f08999e4" providerId="ADAL" clId="{F7F79181-87BF-44AE-B828-0B657792DFE7}" dt="2022-04-28T12:00:00.450" v="397" actId="47"/>
        <pc:sldMkLst>
          <pc:docMk/>
          <pc:sldMk cId="0" sldId="323"/>
        </pc:sldMkLst>
      </pc:sldChg>
      <pc:sldChg chg="del">
        <pc:chgData name="Ricardo Sérgio Souza e Sousa" userId="b2322a61-6b0f-42d2-a39f-a9a5f08999e4" providerId="ADAL" clId="{F7F79181-87BF-44AE-B828-0B657792DFE7}" dt="2022-04-28T11:59:59.404" v="394" actId="47"/>
        <pc:sldMkLst>
          <pc:docMk/>
          <pc:sldMk cId="0" sldId="324"/>
        </pc:sldMkLst>
      </pc:sldChg>
      <pc:sldChg chg="add del">
        <pc:chgData name="Ricardo Sérgio Souza e Sousa" userId="b2322a61-6b0f-42d2-a39f-a9a5f08999e4" providerId="ADAL" clId="{F7F79181-87BF-44AE-B828-0B657792DFE7}" dt="2022-05-02T16:02:20.043" v="6823" actId="47"/>
        <pc:sldMkLst>
          <pc:docMk/>
          <pc:sldMk cId="0" sldId="383"/>
        </pc:sldMkLst>
      </pc:sldChg>
      <pc:sldChg chg="addSp delSp modSp add del mod">
        <pc:chgData name="Ricardo Sérgio Souza e Sousa" userId="b2322a61-6b0f-42d2-a39f-a9a5f08999e4" providerId="ADAL" clId="{F7F79181-87BF-44AE-B828-0B657792DFE7}" dt="2022-05-02T16:02:15.461" v="6821" actId="47"/>
        <pc:sldMkLst>
          <pc:docMk/>
          <pc:sldMk cId="0" sldId="384"/>
        </pc:sldMkLst>
        <pc:spChg chg="del">
          <ac:chgData name="Ricardo Sérgio Souza e Sousa" userId="b2322a61-6b0f-42d2-a39f-a9a5f08999e4" providerId="ADAL" clId="{F7F79181-87BF-44AE-B828-0B657792DFE7}" dt="2022-05-02T16:02:00.069" v="6796" actId="478"/>
          <ac:spMkLst>
            <pc:docMk/>
            <pc:sldMk cId="0" sldId="384"/>
            <ac:spMk id="3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02:05.958" v="6820" actId="20577"/>
          <ac:spMkLst>
            <pc:docMk/>
            <pc:sldMk cId="0" sldId="384"/>
            <ac:spMk id="4" creationId="{962E95E9-B8CE-6B20-76F2-2047467BD1D3}"/>
          </ac:spMkLst>
        </pc:spChg>
      </pc:sldChg>
      <pc:sldChg chg="add del">
        <pc:chgData name="Ricardo Sérgio Souza e Sousa" userId="b2322a61-6b0f-42d2-a39f-a9a5f08999e4" providerId="ADAL" clId="{F7F79181-87BF-44AE-B828-0B657792DFE7}" dt="2022-05-02T16:02:17.993" v="6822" actId="47"/>
        <pc:sldMkLst>
          <pc:docMk/>
          <pc:sldMk cId="0" sldId="386"/>
        </pc:sldMkLst>
      </pc:sldChg>
      <pc:sldChg chg="addSp delSp modSp add mod">
        <pc:chgData name="Ricardo Sérgio Souza e Sousa" userId="b2322a61-6b0f-42d2-a39f-a9a5f08999e4" providerId="ADAL" clId="{F7F79181-87BF-44AE-B828-0B657792DFE7}" dt="2022-05-02T16:02:33.799" v="6860" actId="20577"/>
        <pc:sldMkLst>
          <pc:docMk/>
          <pc:sldMk cId="0" sldId="387"/>
        </pc:sldMkLst>
        <pc:spChg chg="del">
          <ac:chgData name="Ricardo Sérgio Souza e Sousa" userId="b2322a61-6b0f-42d2-a39f-a9a5f08999e4" providerId="ADAL" clId="{F7F79181-87BF-44AE-B828-0B657792DFE7}" dt="2022-05-02T16:02:24.677" v="6824" actId="478"/>
          <ac:spMkLst>
            <pc:docMk/>
            <pc:sldMk cId="0" sldId="387"/>
            <ac:spMk id="3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02:33.799" v="6860" actId="20577"/>
          <ac:spMkLst>
            <pc:docMk/>
            <pc:sldMk cId="0" sldId="387"/>
            <ac:spMk id="4" creationId="{2E3EBBFB-F47A-B9ED-B34C-CB5909DC75B9}"/>
          </ac:spMkLst>
        </pc:spChg>
      </pc:sldChg>
      <pc:sldChg chg="add del">
        <pc:chgData name="Ricardo Sérgio Souza e Sousa" userId="b2322a61-6b0f-42d2-a39f-a9a5f08999e4" providerId="ADAL" clId="{F7F79181-87BF-44AE-B828-0B657792DFE7}" dt="2022-05-02T16:02:47.451" v="6861" actId="47"/>
        <pc:sldMkLst>
          <pc:docMk/>
          <pc:sldMk cId="0" sldId="388"/>
        </pc:sldMkLst>
      </pc:sldChg>
      <pc:sldChg chg="addSp delSp modSp add mod">
        <pc:chgData name="Ricardo Sérgio Souza e Sousa" userId="b2322a61-6b0f-42d2-a39f-a9a5f08999e4" providerId="ADAL" clId="{F7F79181-87BF-44AE-B828-0B657792DFE7}" dt="2022-05-02T16:03:25.076" v="6897" actId="208"/>
        <pc:sldMkLst>
          <pc:docMk/>
          <pc:sldMk cId="0" sldId="389"/>
        </pc:sldMkLst>
        <pc:spChg chg="del">
          <ac:chgData name="Ricardo Sérgio Souza e Sousa" userId="b2322a61-6b0f-42d2-a39f-a9a5f08999e4" providerId="ADAL" clId="{F7F79181-87BF-44AE-B828-0B657792DFE7}" dt="2022-05-02T16:02:51.845" v="6862" actId="478"/>
          <ac:spMkLst>
            <pc:docMk/>
            <pc:sldMk cId="0" sldId="389"/>
            <ac:spMk id="4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03:25.076" v="6897" actId="208"/>
          <ac:spMkLst>
            <pc:docMk/>
            <pc:sldMk cId="0" sldId="389"/>
            <ac:spMk id="9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03:19.890" v="6896" actId="207"/>
          <ac:spMkLst>
            <pc:docMk/>
            <pc:sldMk cId="0" sldId="389"/>
            <ac:spMk id="13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03:00.246" v="6893" actId="20577"/>
          <ac:spMkLst>
            <pc:docMk/>
            <pc:sldMk cId="0" sldId="389"/>
            <ac:spMk id="14" creationId="{70F6186D-BAE2-D383-1D58-98C856548D17}"/>
          </ac:spMkLst>
        </pc:spChg>
      </pc:sldChg>
      <pc:sldChg chg="add del">
        <pc:chgData name="Ricardo Sérgio Souza e Sousa" userId="b2322a61-6b0f-42d2-a39f-a9a5f08999e4" providerId="ADAL" clId="{F7F79181-87BF-44AE-B828-0B657792DFE7}" dt="2022-05-02T16:03:36.498" v="6898" actId="47"/>
        <pc:sldMkLst>
          <pc:docMk/>
          <pc:sldMk cId="0" sldId="390"/>
        </pc:sldMkLst>
      </pc:sldChg>
      <pc:sldChg chg="addSp delSp modSp add mod">
        <pc:chgData name="Ricardo Sérgio Souza e Sousa" userId="b2322a61-6b0f-42d2-a39f-a9a5f08999e4" providerId="ADAL" clId="{F7F79181-87BF-44AE-B828-0B657792DFE7}" dt="2022-05-02T16:04:16.281" v="6936" actId="1076"/>
        <pc:sldMkLst>
          <pc:docMk/>
          <pc:sldMk cId="0" sldId="391"/>
        </pc:sldMkLst>
        <pc:spChg chg="mod">
          <ac:chgData name="Ricardo Sérgio Souza e Sousa" userId="b2322a61-6b0f-42d2-a39f-a9a5f08999e4" providerId="ADAL" clId="{F7F79181-87BF-44AE-B828-0B657792DFE7}" dt="2022-05-02T16:04:16.281" v="6936" actId="1076"/>
          <ac:spMkLst>
            <pc:docMk/>
            <pc:sldMk cId="0" sldId="391"/>
            <ac:spMk id="2" creationId="{00000000-0000-0000-0000-000000000000}"/>
          </ac:spMkLst>
        </pc:spChg>
        <pc:spChg chg="del">
          <ac:chgData name="Ricardo Sérgio Souza e Sousa" userId="b2322a61-6b0f-42d2-a39f-a9a5f08999e4" providerId="ADAL" clId="{F7F79181-87BF-44AE-B828-0B657792DFE7}" dt="2022-05-02T16:03:55.552" v="6926" actId="478"/>
          <ac:spMkLst>
            <pc:docMk/>
            <pc:sldMk cId="0" sldId="391"/>
            <ac:spMk id="3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03:52.221" v="6925" actId="20577"/>
          <ac:spMkLst>
            <pc:docMk/>
            <pc:sldMk cId="0" sldId="391"/>
            <ac:spMk id="4" creationId="{B70974D9-92B5-FC22-986B-355234AF91C7}"/>
          </ac:spMkLst>
        </pc:spChg>
      </pc:sldChg>
      <pc:sldChg chg="addSp delSp modSp add mod">
        <pc:chgData name="Ricardo Sérgio Souza e Sousa" userId="b2322a61-6b0f-42d2-a39f-a9a5f08999e4" providerId="ADAL" clId="{F7F79181-87BF-44AE-B828-0B657792DFE7}" dt="2022-05-02T16:04:52.273" v="6993" actId="1076"/>
        <pc:sldMkLst>
          <pc:docMk/>
          <pc:sldMk cId="0" sldId="392"/>
        </pc:sldMkLst>
        <pc:spChg chg="mod">
          <ac:chgData name="Ricardo Sérgio Souza e Sousa" userId="b2322a61-6b0f-42d2-a39f-a9a5f08999e4" providerId="ADAL" clId="{F7F79181-87BF-44AE-B828-0B657792DFE7}" dt="2022-05-02T16:04:52.273" v="6993" actId="1076"/>
          <ac:spMkLst>
            <pc:docMk/>
            <pc:sldMk cId="0" sldId="392"/>
            <ac:spMk id="2" creationId="{00000000-0000-0000-0000-000000000000}"/>
          </ac:spMkLst>
        </pc:spChg>
        <pc:spChg chg="del">
          <ac:chgData name="Ricardo Sérgio Souza e Sousa" userId="b2322a61-6b0f-42d2-a39f-a9a5f08999e4" providerId="ADAL" clId="{F7F79181-87BF-44AE-B828-0B657792DFE7}" dt="2022-05-02T16:04:22.007" v="6937" actId="478"/>
          <ac:spMkLst>
            <pc:docMk/>
            <pc:sldMk cId="0" sldId="392"/>
            <ac:spMk id="3" creationId="{00000000-0000-0000-0000-000000000000}"/>
          </ac:spMkLst>
        </pc:spChg>
        <pc:spChg chg="del">
          <ac:chgData name="Ricardo Sérgio Souza e Sousa" userId="b2322a61-6b0f-42d2-a39f-a9a5f08999e4" providerId="ADAL" clId="{F7F79181-87BF-44AE-B828-0B657792DFE7}" dt="2022-05-02T16:04:33.908" v="6977" actId="478"/>
          <ac:spMkLst>
            <pc:docMk/>
            <pc:sldMk cId="0" sldId="392"/>
            <ac:spMk id="5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04:30.884" v="6976" actId="20577"/>
          <ac:spMkLst>
            <pc:docMk/>
            <pc:sldMk cId="0" sldId="392"/>
            <ac:spMk id="6" creationId="{7262F74B-D327-D8A4-35D1-4B044A5210DF}"/>
          </ac:spMkLst>
        </pc:spChg>
      </pc:sldChg>
      <pc:sldChg chg="addSp delSp modSp add mod">
        <pc:chgData name="Ricardo Sérgio Souza e Sousa" userId="b2322a61-6b0f-42d2-a39f-a9a5f08999e4" providerId="ADAL" clId="{F7F79181-87BF-44AE-B828-0B657792DFE7}" dt="2022-05-02T16:05:51.814" v="7045" actId="2085"/>
        <pc:sldMkLst>
          <pc:docMk/>
          <pc:sldMk cId="0" sldId="393"/>
        </pc:sldMkLst>
        <pc:spChg chg="mod">
          <ac:chgData name="Ricardo Sérgio Souza e Sousa" userId="b2322a61-6b0f-42d2-a39f-a9a5f08999e4" providerId="ADAL" clId="{F7F79181-87BF-44AE-B828-0B657792DFE7}" dt="2022-05-02T16:05:51.814" v="7045" actId="2085"/>
          <ac:spMkLst>
            <pc:docMk/>
            <pc:sldMk cId="0" sldId="393"/>
            <ac:spMk id="6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05:27.611" v="7039" actId="207"/>
          <ac:spMkLst>
            <pc:docMk/>
            <pc:sldMk cId="0" sldId="393"/>
            <ac:spMk id="7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05:27.611" v="7039" actId="207"/>
          <ac:spMkLst>
            <pc:docMk/>
            <pc:sldMk cId="0" sldId="393"/>
            <ac:spMk id="8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05:51.814" v="7045" actId="2085"/>
          <ac:spMkLst>
            <pc:docMk/>
            <pc:sldMk cId="0" sldId="393"/>
            <ac:spMk id="10" creationId="{00000000-0000-0000-0000-000000000000}"/>
          </ac:spMkLst>
        </pc:spChg>
        <pc:spChg chg="del">
          <ac:chgData name="Ricardo Sérgio Souza e Sousa" userId="b2322a61-6b0f-42d2-a39f-a9a5f08999e4" providerId="ADAL" clId="{F7F79181-87BF-44AE-B828-0B657792DFE7}" dt="2022-05-02T16:04:57.976" v="6994" actId="478"/>
          <ac:spMkLst>
            <pc:docMk/>
            <pc:sldMk cId="0" sldId="393"/>
            <ac:spMk id="11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05:05.941" v="7032" actId="20577"/>
          <ac:spMkLst>
            <pc:docMk/>
            <pc:sldMk cId="0" sldId="393"/>
            <ac:spMk id="13" creationId="{5258441D-9041-8C07-964F-7A5808D7F287}"/>
          </ac:spMkLst>
        </pc:spChg>
      </pc:sldChg>
      <pc:sldChg chg="addSp delSp modSp add mod">
        <pc:chgData name="Ricardo Sérgio Souza e Sousa" userId="b2322a61-6b0f-42d2-a39f-a9a5f08999e4" providerId="ADAL" clId="{F7F79181-87BF-44AE-B828-0B657792DFE7}" dt="2022-05-02T16:06:30.464" v="7078" actId="20577"/>
        <pc:sldMkLst>
          <pc:docMk/>
          <pc:sldMk cId="0" sldId="394"/>
        </pc:sldMkLst>
        <pc:spChg chg="del">
          <ac:chgData name="Ricardo Sérgio Souza e Sousa" userId="b2322a61-6b0f-42d2-a39f-a9a5f08999e4" providerId="ADAL" clId="{F7F79181-87BF-44AE-B828-0B657792DFE7}" dt="2022-05-02T16:06:23.033" v="7046" actId="478"/>
          <ac:spMkLst>
            <pc:docMk/>
            <pc:sldMk cId="0" sldId="394"/>
            <ac:spMk id="3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06:30.464" v="7078" actId="20577"/>
          <ac:spMkLst>
            <pc:docMk/>
            <pc:sldMk cId="0" sldId="394"/>
            <ac:spMk id="6" creationId="{419D0FA4-251C-BFAD-9D76-793D87A54852}"/>
          </ac:spMkLst>
        </pc:spChg>
      </pc:sldChg>
      <pc:sldChg chg="addSp delSp modSp add mod">
        <pc:chgData name="Ricardo Sérgio Souza e Sousa" userId="b2322a61-6b0f-42d2-a39f-a9a5f08999e4" providerId="ADAL" clId="{F7F79181-87BF-44AE-B828-0B657792DFE7}" dt="2022-05-02T16:07:34.579" v="7116" actId="2085"/>
        <pc:sldMkLst>
          <pc:docMk/>
          <pc:sldMk cId="0" sldId="395"/>
        </pc:sldMkLst>
        <pc:spChg chg="del">
          <ac:chgData name="Ricardo Sérgio Souza e Sousa" userId="b2322a61-6b0f-42d2-a39f-a9a5f08999e4" providerId="ADAL" clId="{F7F79181-87BF-44AE-B828-0B657792DFE7}" dt="2022-05-02T16:06:41.717" v="7079" actId="478"/>
          <ac:spMkLst>
            <pc:docMk/>
            <pc:sldMk cId="0" sldId="395"/>
            <ac:spMk id="3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07:34.579" v="7116" actId="2085"/>
          <ac:spMkLst>
            <pc:docMk/>
            <pc:sldMk cId="0" sldId="395"/>
            <ac:spMk id="11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07:34.579" v="7116" actId="2085"/>
          <ac:spMkLst>
            <pc:docMk/>
            <pc:sldMk cId="0" sldId="395"/>
            <ac:spMk id="1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07:34.579" v="7116" actId="2085"/>
          <ac:spMkLst>
            <pc:docMk/>
            <pc:sldMk cId="0" sldId="395"/>
            <ac:spMk id="13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07:34.579" v="7116" actId="2085"/>
          <ac:spMkLst>
            <pc:docMk/>
            <pc:sldMk cId="0" sldId="395"/>
            <ac:spMk id="14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06:49.713" v="7113" actId="20577"/>
          <ac:spMkLst>
            <pc:docMk/>
            <pc:sldMk cId="0" sldId="395"/>
            <ac:spMk id="16" creationId="{E9D35381-1EE1-6AC0-B951-4B8381C11D56}"/>
          </ac:spMkLst>
        </pc:spChg>
        <pc:spChg chg="mod">
          <ac:chgData name="Ricardo Sérgio Souza e Sousa" userId="b2322a61-6b0f-42d2-a39f-a9a5f08999e4" providerId="ADAL" clId="{F7F79181-87BF-44AE-B828-0B657792DFE7}" dt="2022-05-02T16:06:55.351" v="7114" actId="207"/>
          <ac:spMkLst>
            <pc:docMk/>
            <pc:sldMk cId="0" sldId="395"/>
            <ac:spMk id="17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06:55.351" v="7114" actId="207"/>
          <ac:spMkLst>
            <pc:docMk/>
            <pc:sldMk cId="0" sldId="395"/>
            <ac:spMk id="18" creationId="{00000000-0000-0000-0000-000000000000}"/>
          </ac:spMkLst>
        </pc:spChg>
      </pc:sldChg>
      <pc:sldChg chg="addSp delSp modSp add del mod">
        <pc:chgData name="Ricardo Sérgio Souza e Sousa" userId="b2322a61-6b0f-42d2-a39f-a9a5f08999e4" providerId="ADAL" clId="{F7F79181-87BF-44AE-B828-0B657792DFE7}" dt="2022-05-02T16:09:14.856" v="7131" actId="47"/>
        <pc:sldMkLst>
          <pc:docMk/>
          <pc:sldMk cId="0" sldId="396"/>
        </pc:sldMkLst>
        <pc:spChg chg="del">
          <ac:chgData name="Ricardo Sérgio Souza e Sousa" userId="b2322a61-6b0f-42d2-a39f-a9a5f08999e4" providerId="ADAL" clId="{F7F79181-87BF-44AE-B828-0B657792DFE7}" dt="2022-05-02T16:08:37.276" v="7118" actId="478"/>
          <ac:spMkLst>
            <pc:docMk/>
            <pc:sldMk cId="0" sldId="396"/>
            <ac:spMk id="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08:40.345" v="7119" actId="1076"/>
          <ac:spMkLst>
            <pc:docMk/>
            <pc:sldMk cId="0" sldId="396"/>
            <ac:spMk id="4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08:32.637" v="7117"/>
          <ac:spMkLst>
            <pc:docMk/>
            <pc:sldMk cId="0" sldId="396"/>
            <ac:spMk id="5" creationId="{B3D8EA30-952C-9CA0-9785-4318BBCA1EF3}"/>
          </ac:spMkLst>
        </pc:spChg>
        <pc:picChg chg="del mod">
          <ac:chgData name="Ricardo Sérgio Souza e Sousa" userId="b2322a61-6b0f-42d2-a39f-a9a5f08999e4" providerId="ADAL" clId="{F7F79181-87BF-44AE-B828-0B657792DFE7}" dt="2022-05-02T16:08:53.551" v="7122" actId="21"/>
          <ac:picMkLst>
            <pc:docMk/>
            <pc:sldMk cId="0" sldId="396"/>
            <ac:picMk id="3" creationId="{00000000-0000-0000-0000-000000000000}"/>
          </ac:picMkLst>
        </pc:picChg>
      </pc:sldChg>
      <pc:sldChg chg="addSp delSp modSp add mod">
        <pc:chgData name="Ricardo Sérgio Souza e Sousa" userId="b2322a61-6b0f-42d2-a39f-a9a5f08999e4" providerId="ADAL" clId="{F7F79181-87BF-44AE-B828-0B657792DFE7}" dt="2022-05-02T16:09:50.864" v="7132" actId="1076"/>
        <pc:sldMkLst>
          <pc:docMk/>
          <pc:sldMk cId="0" sldId="397"/>
        </pc:sldMkLst>
        <pc:spChg chg="del">
          <ac:chgData name="Ricardo Sérgio Souza e Sousa" userId="b2322a61-6b0f-42d2-a39f-a9a5f08999e4" providerId="ADAL" clId="{F7F79181-87BF-44AE-B828-0B657792DFE7}" dt="2022-05-02T16:09:06.771" v="7128" actId="478"/>
          <ac:spMkLst>
            <pc:docMk/>
            <pc:sldMk cId="0" sldId="397"/>
            <ac:spMk id="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09:50.864" v="7132" actId="1076"/>
          <ac:spMkLst>
            <pc:docMk/>
            <pc:sldMk cId="0" sldId="397"/>
            <ac:spMk id="3" creationId="{00000000-0000-0000-0000-000000000000}"/>
          </ac:spMkLst>
        </pc:spChg>
        <pc:spChg chg="del mod">
          <ac:chgData name="Ricardo Sérgio Souza e Sousa" userId="b2322a61-6b0f-42d2-a39f-a9a5f08999e4" providerId="ADAL" clId="{F7F79181-87BF-44AE-B828-0B657792DFE7}" dt="2022-05-02T16:09:07.821" v="7129" actId="478"/>
          <ac:spMkLst>
            <pc:docMk/>
            <pc:sldMk cId="0" sldId="397"/>
            <ac:spMk id="4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09:13.577" v="7130"/>
          <ac:spMkLst>
            <pc:docMk/>
            <pc:sldMk cId="0" sldId="397"/>
            <ac:spMk id="6" creationId="{A3AFDB2E-7679-879A-F3C8-BF5F928C07A1}"/>
          </ac:spMkLst>
        </pc:spChg>
        <pc:picChg chg="add mod">
          <ac:chgData name="Ricardo Sérgio Souza e Sousa" userId="b2322a61-6b0f-42d2-a39f-a9a5f08999e4" providerId="ADAL" clId="{F7F79181-87BF-44AE-B828-0B657792DFE7}" dt="2022-05-02T16:09:01.409" v="7126" actId="1076"/>
          <ac:picMkLst>
            <pc:docMk/>
            <pc:sldMk cId="0" sldId="397"/>
            <ac:picMk id="5" creationId="{4C4DEA7D-BC2B-4CB4-8241-C0A463C2BFCD}"/>
          </ac:picMkLst>
        </pc:picChg>
      </pc:sldChg>
      <pc:sldChg chg="addSp delSp modSp add mod">
        <pc:chgData name="Ricardo Sérgio Souza e Sousa" userId="b2322a61-6b0f-42d2-a39f-a9a5f08999e4" providerId="ADAL" clId="{F7F79181-87BF-44AE-B828-0B657792DFE7}" dt="2022-05-02T16:10:33.596" v="7151" actId="1036"/>
        <pc:sldMkLst>
          <pc:docMk/>
          <pc:sldMk cId="0" sldId="398"/>
        </pc:sldMkLst>
        <pc:spChg chg="mod">
          <ac:chgData name="Ricardo Sérgio Souza e Sousa" userId="b2322a61-6b0f-42d2-a39f-a9a5f08999e4" providerId="ADAL" clId="{F7F79181-87BF-44AE-B828-0B657792DFE7}" dt="2022-05-02T16:10:33.596" v="7151" actId="1036"/>
          <ac:spMkLst>
            <pc:docMk/>
            <pc:sldMk cId="0" sldId="398"/>
            <ac:spMk id="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10:18.274" v="7139" actId="113"/>
          <ac:spMkLst>
            <pc:docMk/>
            <pc:sldMk cId="0" sldId="398"/>
            <ac:spMk id="3" creationId="{00000000-0000-0000-0000-000000000000}"/>
          </ac:spMkLst>
        </pc:spChg>
        <pc:spChg chg="del">
          <ac:chgData name="Ricardo Sérgio Souza e Sousa" userId="b2322a61-6b0f-42d2-a39f-a9a5f08999e4" providerId="ADAL" clId="{F7F79181-87BF-44AE-B828-0B657792DFE7}" dt="2022-05-02T16:09:58.761" v="7133" actId="478"/>
          <ac:spMkLst>
            <pc:docMk/>
            <pc:sldMk cId="0" sldId="398"/>
            <ac:spMk id="4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10:02.858" v="7134"/>
          <ac:spMkLst>
            <pc:docMk/>
            <pc:sldMk cId="0" sldId="398"/>
            <ac:spMk id="5" creationId="{40B773BB-B993-B26D-4663-2F794546F6C0}"/>
          </ac:spMkLst>
        </pc:spChg>
      </pc:sldChg>
      <pc:sldChg chg="addSp delSp modSp add mod">
        <pc:chgData name="Ricardo Sérgio Souza e Sousa" userId="b2322a61-6b0f-42d2-a39f-a9a5f08999e4" providerId="ADAL" clId="{F7F79181-87BF-44AE-B828-0B657792DFE7}" dt="2022-05-02T16:11:43.234" v="7166" actId="207"/>
        <pc:sldMkLst>
          <pc:docMk/>
          <pc:sldMk cId="0" sldId="399"/>
        </pc:sldMkLst>
        <pc:spChg chg="mod">
          <ac:chgData name="Ricardo Sérgio Souza e Sousa" userId="b2322a61-6b0f-42d2-a39f-a9a5f08999e4" providerId="ADAL" clId="{F7F79181-87BF-44AE-B828-0B657792DFE7}" dt="2022-05-02T16:11:04.470" v="7156" actId="1076"/>
          <ac:spMkLst>
            <pc:docMk/>
            <pc:sldMk cId="0" sldId="399"/>
            <ac:spMk id="3" creationId="{00000000-0000-0000-0000-000000000000}"/>
          </ac:spMkLst>
        </pc:spChg>
        <pc:spChg chg="add del">
          <ac:chgData name="Ricardo Sérgio Souza e Sousa" userId="b2322a61-6b0f-42d2-a39f-a9a5f08999e4" providerId="ADAL" clId="{F7F79181-87BF-44AE-B828-0B657792DFE7}" dt="2022-05-02T16:11:12.385" v="7159" actId="478"/>
          <ac:spMkLst>
            <pc:docMk/>
            <pc:sldMk cId="0" sldId="399"/>
            <ac:spMk id="4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11:43.234" v="7166" actId="207"/>
          <ac:spMkLst>
            <pc:docMk/>
            <pc:sldMk cId="0" sldId="399"/>
            <ac:spMk id="5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11:14.744" v="7160"/>
          <ac:spMkLst>
            <pc:docMk/>
            <pc:sldMk cId="0" sldId="399"/>
            <ac:spMk id="6" creationId="{025F7544-2E6C-1A13-E59D-55BAE6D1672F}"/>
          </ac:spMkLst>
        </pc:spChg>
      </pc:sldChg>
      <pc:sldChg chg="addSp delSp modSp add mod">
        <pc:chgData name="Ricardo Sérgio Souza e Sousa" userId="b2322a61-6b0f-42d2-a39f-a9a5f08999e4" providerId="ADAL" clId="{F7F79181-87BF-44AE-B828-0B657792DFE7}" dt="2022-05-02T16:12:47.701" v="7182" actId="20577"/>
        <pc:sldMkLst>
          <pc:docMk/>
          <pc:sldMk cId="0" sldId="400"/>
        </pc:sldMkLst>
        <pc:spChg chg="mod">
          <ac:chgData name="Ricardo Sérgio Souza e Sousa" userId="b2322a61-6b0f-42d2-a39f-a9a5f08999e4" providerId="ADAL" clId="{F7F79181-87BF-44AE-B828-0B657792DFE7}" dt="2022-05-02T16:12:47.701" v="7182" actId="20577"/>
          <ac:spMkLst>
            <pc:docMk/>
            <pc:sldMk cId="0" sldId="400"/>
            <ac:spMk id="2" creationId="{00000000-0000-0000-0000-000000000000}"/>
          </ac:spMkLst>
        </pc:spChg>
        <pc:spChg chg="add del">
          <ac:chgData name="Ricardo Sérgio Souza e Sousa" userId="b2322a61-6b0f-42d2-a39f-a9a5f08999e4" providerId="ADAL" clId="{F7F79181-87BF-44AE-B828-0B657792DFE7}" dt="2022-05-02T16:12:01.030" v="7169" actId="478"/>
          <ac:spMkLst>
            <pc:docMk/>
            <pc:sldMk cId="0" sldId="400"/>
            <ac:spMk id="4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12:02.105" v="7170"/>
          <ac:spMkLst>
            <pc:docMk/>
            <pc:sldMk cId="0" sldId="400"/>
            <ac:spMk id="5" creationId="{8AE11D86-6EA8-D526-8607-38FD11F1AB15}"/>
          </ac:spMkLst>
        </pc:spChg>
      </pc:sldChg>
      <pc:sldChg chg="addSp delSp modSp add mod">
        <pc:chgData name="Ricardo Sérgio Souza e Sousa" userId="b2322a61-6b0f-42d2-a39f-a9a5f08999e4" providerId="ADAL" clId="{F7F79181-87BF-44AE-B828-0B657792DFE7}" dt="2022-05-02T16:13:12.504" v="7190" actId="20577"/>
        <pc:sldMkLst>
          <pc:docMk/>
          <pc:sldMk cId="0" sldId="401"/>
        </pc:sldMkLst>
        <pc:spChg chg="mod">
          <ac:chgData name="Ricardo Sérgio Souza e Sousa" userId="b2322a61-6b0f-42d2-a39f-a9a5f08999e4" providerId="ADAL" clId="{F7F79181-87BF-44AE-B828-0B657792DFE7}" dt="2022-05-02T16:13:12.504" v="7190" actId="20577"/>
          <ac:spMkLst>
            <pc:docMk/>
            <pc:sldMk cId="0" sldId="401"/>
            <ac:spMk id="2" creationId="{00000000-0000-0000-0000-000000000000}"/>
          </ac:spMkLst>
        </pc:spChg>
        <pc:spChg chg="del">
          <ac:chgData name="Ricardo Sérgio Souza e Sousa" userId="b2322a61-6b0f-42d2-a39f-a9a5f08999e4" providerId="ADAL" clId="{F7F79181-87BF-44AE-B828-0B657792DFE7}" dt="2022-05-02T16:12:54.180" v="7183" actId="478"/>
          <ac:spMkLst>
            <pc:docMk/>
            <pc:sldMk cId="0" sldId="401"/>
            <ac:spMk id="3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12:58.507" v="7184"/>
          <ac:spMkLst>
            <pc:docMk/>
            <pc:sldMk cId="0" sldId="401"/>
            <ac:spMk id="4" creationId="{7A0E400A-A9B2-B35D-5D28-4BB0CB10061A}"/>
          </ac:spMkLst>
        </pc:spChg>
      </pc:sldChg>
      <pc:sldChg chg="addSp delSp modSp add mod">
        <pc:chgData name="Ricardo Sérgio Souza e Sousa" userId="b2322a61-6b0f-42d2-a39f-a9a5f08999e4" providerId="ADAL" clId="{F7F79181-87BF-44AE-B828-0B657792DFE7}" dt="2022-05-02T16:18:20.771" v="7307" actId="20577"/>
        <pc:sldMkLst>
          <pc:docMk/>
          <pc:sldMk cId="0" sldId="402"/>
        </pc:sldMkLst>
        <pc:spChg chg="del">
          <ac:chgData name="Ricardo Sérgio Souza e Sousa" userId="b2322a61-6b0f-42d2-a39f-a9a5f08999e4" providerId="ADAL" clId="{F7F79181-87BF-44AE-B828-0B657792DFE7}" dt="2022-05-02T16:13:29.209" v="7191" actId="478"/>
          <ac:spMkLst>
            <pc:docMk/>
            <pc:sldMk cId="0" sldId="402"/>
            <ac:spMk id="4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13:29.974" v="7192"/>
          <ac:spMkLst>
            <pc:docMk/>
            <pc:sldMk cId="0" sldId="402"/>
            <ac:spMk id="5" creationId="{17A325F4-6C57-9DDC-827D-1E0A6254DE8D}"/>
          </ac:spMkLst>
        </pc:spChg>
        <pc:graphicFrameChg chg="mod modGraphic">
          <ac:chgData name="Ricardo Sérgio Souza e Sousa" userId="b2322a61-6b0f-42d2-a39f-a9a5f08999e4" providerId="ADAL" clId="{F7F79181-87BF-44AE-B828-0B657792DFE7}" dt="2022-05-02T16:18:20.771" v="7307" actId="20577"/>
          <ac:graphicFrameMkLst>
            <pc:docMk/>
            <pc:sldMk cId="0" sldId="402"/>
            <ac:graphicFrameMk id="3" creationId="{00000000-0000-0000-0000-000000000000}"/>
          </ac:graphicFrameMkLst>
        </pc:graphicFrameChg>
      </pc:sldChg>
      <pc:sldChg chg="addSp modSp add mod">
        <pc:chgData name="Ricardo Sérgio Souza e Sousa" userId="b2322a61-6b0f-42d2-a39f-a9a5f08999e4" providerId="ADAL" clId="{F7F79181-87BF-44AE-B828-0B657792DFE7}" dt="2022-05-02T16:18:08.926" v="7302" actId="1036"/>
        <pc:sldMkLst>
          <pc:docMk/>
          <pc:sldMk cId="0" sldId="403"/>
        </pc:sldMkLst>
        <pc:spChg chg="mod">
          <ac:chgData name="Ricardo Sérgio Souza e Sousa" userId="b2322a61-6b0f-42d2-a39f-a9a5f08999e4" providerId="ADAL" clId="{F7F79181-87BF-44AE-B828-0B657792DFE7}" dt="2022-05-02T16:18:08.926" v="7302" actId="1036"/>
          <ac:spMkLst>
            <pc:docMk/>
            <pc:sldMk cId="0" sldId="403"/>
            <ac:spMk id="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15:33.850" v="7229" actId="122"/>
          <ac:spMkLst>
            <pc:docMk/>
            <pc:sldMk cId="0" sldId="403"/>
            <ac:spMk id="3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15:44.321" v="7232" actId="122"/>
          <ac:spMkLst>
            <pc:docMk/>
            <pc:sldMk cId="0" sldId="403"/>
            <ac:spMk id="4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15:53.620" v="7235" actId="404"/>
          <ac:spMkLst>
            <pc:docMk/>
            <pc:sldMk cId="0" sldId="403"/>
            <ac:spMk id="5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16:00.962" v="7236" actId="208"/>
          <ac:spMkLst>
            <pc:docMk/>
            <pc:sldMk cId="0" sldId="403"/>
            <ac:spMk id="6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16:00.962" v="7236" actId="208"/>
          <ac:spMkLst>
            <pc:docMk/>
            <pc:sldMk cId="0" sldId="403"/>
            <ac:spMk id="7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16:00.962" v="7236" actId="208"/>
          <ac:spMkLst>
            <pc:docMk/>
            <pc:sldMk cId="0" sldId="403"/>
            <ac:spMk id="8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15:21.455" v="7224" actId="207"/>
          <ac:spMkLst>
            <pc:docMk/>
            <pc:sldMk cId="0" sldId="403"/>
            <ac:spMk id="9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15:21.455" v="7224" actId="207"/>
          <ac:spMkLst>
            <pc:docMk/>
            <pc:sldMk cId="0" sldId="403"/>
            <ac:spMk id="10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15:21.455" v="7224" actId="207"/>
          <ac:spMkLst>
            <pc:docMk/>
            <pc:sldMk cId="0" sldId="403"/>
            <ac:spMk id="11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13:57.529" v="7199"/>
          <ac:spMkLst>
            <pc:docMk/>
            <pc:sldMk cId="0" sldId="403"/>
            <ac:spMk id="12" creationId="{F8424A5E-0A82-45B1-3D3F-A4A024BD32A0}"/>
          </ac:spMkLst>
        </pc:spChg>
      </pc:sldChg>
      <pc:sldChg chg="addSp modSp add mod">
        <pc:chgData name="Ricardo Sérgio Souza e Sousa" userId="b2322a61-6b0f-42d2-a39f-a9a5f08999e4" providerId="ADAL" clId="{F7F79181-87BF-44AE-B828-0B657792DFE7}" dt="2022-05-02T16:18:28.979" v="7308"/>
        <pc:sldMkLst>
          <pc:docMk/>
          <pc:sldMk cId="0" sldId="404"/>
        </pc:sldMkLst>
        <pc:spChg chg="mod">
          <ac:chgData name="Ricardo Sérgio Souza e Sousa" userId="b2322a61-6b0f-42d2-a39f-a9a5f08999e4" providerId="ADAL" clId="{F7F79181-87BF-44AE-B828-0B657792DFE7}" dt="2022-05-02T16:18:04.481" v="7294" actId="1036"/>
          <ac:spMkLst>
            <pc:docMk/>
            <pc:sldMk cId="0" sldId="404"/>
            <ac:spMk id="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16:17.082" v="7239" actId="207"/>
          <ac:spMkLst>
            <pc:docMk/>
            <pc:sldMk cId="0" sldId="404"/>
            <ac:spMk id="1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16:17.082" v="7239" actId="207"/>
          <ac:spMkLst>
            <pc:docMk/>
            <pc:sldMk cId="0" sldId="404"/>
            <ac:spMk id="13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16:32.674" v="7244" actId="404"/>
          <ac:spMkLst>
            <pc:docMk/>
            <pc:sldMk cId="0" sldId="404"/>
            <ac:spMk id="14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17:50.067" v="7279" actId="693"/>
          <ac:spMkLst>
            <pc:docMk/>
            <pc:sldMk cId="0" sldId="404"/>
            <ac:spMk id="15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17:09.630" v="7277" actId="1036"/>
          <ac:spMkLst>
            <pc:docMk/>
            <pc:sldMk cId="0" sldId="404"/>
            <ac:spMk id="16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16:59.517" v="7264" actId="1036"/>
          <ac:spMkLst>
            <pc:docMk/>
            <pc:sldMk cId="0" sldId="404"/>
            <ac:spMk id="17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17:03.607" v="7271" actId="1036"/>
          <ac:spMkLst>
            <pc:docMk/>
            <pc:sldMk cId="0" sldId="404"/>
            <ac:spMk id="18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17:50.067" v="7279" actId="693"/>
          <ac:spMkLst>
            <pc:docMk/>
            <pc:sldMk cId="0" sldId="404"/>
            <ac:spMk id="19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17:50.067" v="7279" actId="693"/>
          <ac:spMkLst>
            <pc:docMk/>
            <pc:sldMk cId="0" sldId="404"/>
            <ac:spMk id="20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18:28.979" v="7308"/>
          <ac:spMkLst>
            <pc:docMk/>
            <pc:sldMk cId="0" sldId="404"/>
            <ac:spMk id="21" creationId="{0A507DC5-40DF-BBD1-D1A6-826243FD9E90}"/>
          </ac:spMkLst>
        </pc:spChg>
      </pc:sldChg>
      <pc:sldChg chg="addSp delSp modSp add mod">
        <pc:chgData name="Ricardo Sérgio Souza e Sousa" userId="b2322a61-6b0f-42d2-a39f-a9a5f08999e4" providerId="ADAL" clId="{F7F79181-87BF-44AE-B828-0B657792DFE7}" dt="2022-05-02T16:22:19.179" v="7408" actId="14100"/>
        <pc:sldMkLst>
          <pc:docMk/>
          <pc:sldMk cId="0" sldId="405"/>
        </pc:sldMkLst>
        <pc:spChg chg="mod">
          <ac:chgData name="Ricardo Sérgio Souza e Sousa" userId="b2322a61-6b0f-42d2-a39f-a9a5f08999e4" providerId="ADAL" clId="{F7F79181-87BF-44AE-B828-0B657792DFE7}" dt="2022-05-02T16:22:19.179" v="7408" actId="14100"/>
          <ac:spMkLst>
            <pc:docMk/>
            <pc:sldMk cId="0" sldId="405"/>
            <ac:spMk id="2" creationId="{00000000-0000-0000-0000-000000000000}"/>
          </ac:spMkLst>
        </pc:spChg>
        <pc:spChg chg="del">
          <ac:chgData name="Ricardo Sérgio Souza e Sousa" userId="b2322a61-6b0f-42d2-a39f-a9a5f08999e4" providerId="ADAL" clId="{F7F79181-87BF-44AE-B828-0B657792DFE7}" dt="2022-05-02T16:18:48.907" v="7360" actId="478"/>
          <ac:spMkLst>
            <pc:docMk/>
            <pc:sldMk cId="0" sldId="405"/>
            <ac:spMk id="3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22:01.900" v="7403" actId="1076"/>
          <ac:spMkLst>
            <pc:docMk/>
            <pc:sldMk cId="0" sldId="405"/>
            <ac:spMk id="5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22:04.194" v="7404" actId="1076"/>
          <ac:spMkLst>
            <pc:docMk/>
            <pc:sldMk cId="0" sldId="405"/>
            <ac:spMk id="7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21:59.081" v="7402" actId="1076"/>
          <ac:spMkLst>
            <pc:docMk/>
            <pc:sldMk cId="0" sldId="405"/>
            <ac:spMk id="8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22:06.958" v="7405" actId="1076"/>
          <ac:spMkLst>
            <pc:docMk/>
            <pc:sldMk cId="0" sldId="405"/>
            <ac:spMk id="9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22:13.793" v="7407" actId="1076"/>
          <ac:spMkLst>
            <pc:docMk/>
            <pc:sldMk cId="0" sldId="405"/>
            <ac:spMk id="10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22:09.673" v="7406" actId="1076"/>
          <ac:spMkLst>
            <pc:docMk/>
            <pc:sldMk cId="0" sldId="405"/>
            <ac:spMk id="11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18:50.691" v="7361" actId="20577"/>
          <ac:spMkLst>
            <pc:docMk/>
            <pc:sldMk cId="0" sldId="405"/>
            <ac:spMk id="12" creationId="{E2B9F959-2987-6984-5C6D-18FFA5A3B386}"/>
          </ac:spMkLst>
        </pc:spChg>
      </pc:sldChg>
      <pc:sldChg chg="addSp delSp modSp add mod">
        <pc:chgData name="Ricardo Sérgio Souza e Sousa" userId="b2322a61-6b0f-42d2-a39f-a9a5f08999e4" providerId="ADAL" clId="{F7F79181-87BF-44AE-B828-0B657792DFE7}" dt="2022-05-02T16:23:02.219" v="7444" actId="1076"/>
        <pc:sldMkLst>
          <pc:docMk/>
          <pc:sldMk cId="0" sldId="406"/>
        </pc:sldMkLst>
        <pc:spChg chg="del">
          <ac:chgData name="Ricardo Sérgio Souza e Sousa" userId="b2322a61-6b0f-42d2-a39f-a9a5f08999e4" providerId="ADAL" clId="{F7F79181-87BF-44AE-B828-0B657792DFE7}" dt="2022-05-02T16:22:34.920" v="7439" actId="478"/>
          <ac:spMkLst>
            <pc:docMk/>
            <pc:sldMk cId="0" sldId="406"/>
            <ac:spMk id="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23:02.219" v="7444" actId="1076"/>
          <ac:spMkLst>
            <pc:docMk/>
            <pc:sldMk cId="0" sldId="406"/>
            <ac:spMk id="5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22:51.832" v="7442" actId="207"/>
          <ac:spMkLst>
            <pc:docMk/>
            <pc:sldMk cId="0" sldId="406"/>
            <ac:spMk id="7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22:51.832" v="7442" actId="207"/>
          <ac:spMkLst>
            <pc:docMk/>
            <pc:sldMk cId="0" sldId="406"/>
            <ac:spMk id="8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22:51.832" v="7442" actId="207"/>
          <ac:spMkLst>
            <pc:docMk/>
            <pc:sldMk cId="0" sldId="406"/>
            <ac:spMk id="9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22:46.634" v="7441" actId="207"/>
          <ac:spMkLst>
            <pc:docMk/>
            <pc:sldMk cId="0" sldId="406"/>
            <ac:spMk id="11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22:46.634" v="7441" actId="207"/>
          <ac:spMkLst>
            <pc:docMk/>
            <pc:sldMk cId="0" sldId="406"/>
            <ac:spMk id="1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22:46.634" v="7441" actId="207"/>
          <ac:spMkLst>
            <pc:docMk/>
            <pc:sldMk cId="0" sldId="406"/>
            <ac:spMk id="13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22:58.516" v="7443" actId="207"/>
          <ac:spMkLst>
            <pc:docMk/>
            <pc:sldMk cId="0" sldId="406"/>
            <ac:spMk id="14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22:58.516" v="7443" actId="207"/>
          <ac:spMkLst>
            <pc:docMk/>
            <pc:sldMk cId="0" sldId="406"/>
            <ac:spMk id="15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22:32.584" v="7438" actId="5793"/>
          <ac:spMkLst>
            <pc:docMk/>
            <pc:sldMk cId="0" sldId="406"/>
            <ac:spMk id="16" creationId="{BC18DFE4-5393-9AA8-7AEF-122198436794}"/>
          </ac:spMkLst>
        </pc:spChg>
      </pc:sldChg>
      <pc:sldChg chg="modSp add mod">
        <pc:chgData name="Ricardo Sérgio Souza e Sousa" userId="b2322a61-6b0f-42d2-a39f-a9a5f08999e4" providerId="ADAL" clId="{F7F79181-87BF-44AE-B828-0B657792DFE7}" dt="2022-05-02T16:23:14.092" v="7452" actId="1076"/>
        <pc:sldMkLst>
          <pc:docMk/>
          <pc:sldMk cId="0" sldId="407"/>
        </pc:sldMkLst>
        <pc:spChg chg="mod">
          <ac:chgData name="Ricardo Sérgio Souza e Sousa" userId="b2322a61-6b0f-42d2-a39f-a9a5f08999e4" providerId="ADAL" clId="{F7F79181-87BF-44AE-B828-0B657792DFE7}" dt="2022-05-02T16:23:14.092" v="7452" actId="1076"/>
          <ac:spMkLst>
            <pc:docMk/>
            <pc:sldMk cId="0" sldId="407"/>
            <ac:spMk id="2" creationId="{00000000-0000-0000-0000-000000000000}"/>
          </ac:spMkLst>
        </pc:spChg>
      </pc:sldChg>
      <pc:sldChg chg="addSp delSp modSp add mod">
        <pc:chgData name="Ricardo Sérgio Souza e Sousa" userId="b2322a61-6b0f-42d2-a39f-a9a5f08999e4" providerId="ADAL" clId="{F7F79181-87BF-44AE-B828-0B657792DFE7}" dt="2022-05-02T16:23:58.643" v="7482" actId="207"/>
        <pc:sldMkLst>
          <pc:docMk/>
          <pc:sldMk cId="0" sldId="408"/>
        </pc:sldMkLst>
        <pc:spChg chg="del">
          <ac:chgData name="Ricardo Sérgio Souza e Sousa" userId="b2322a61-6b0f-42d2-a39f-a9a5f08999e4" providerId="ADAL" clId="{F7F79181-87BF-44AE-B828-0B657792DFE7}" dt="2022-05-02T16:23:46.175" v="7453" actId="478"/>
          <ac:spMkLst>
            <pc:docMk/>
            <pc:sldMk cId="0" sldId="408"/>
            <ac:spMk id="2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23:53.291" v="7480" actId="20577"/>
          <ac:spMkLst>
            <pc:docMk/>
            <pc:sldMk cId="0" sldId="408"/>
            <ac:spMk id="5" creationId="{AE03E41F-C528-237E-5D30-48E7A04AC9AE}"/>
          </ac:spMkLst>
        </pc:spChg>
        <pc:graphicFrameChg chg="modGraphic">
          <ac:chgData name="Ricardo Sérgio Souza e Sousa" userId="b2322a61-6b0f-42d2-a39f-a9a5f08999e4" providerId="ADAL" clId="{F7F79181-87BF-44AE-B828-0B657792DFE7}" dt="2022-05-02T16:23:58.643" v="7482" actId="207"/>
          <ac:graphicFrameMkLst>
            <pc:docMk/>
            <pc:sldMk cId="0" sldId="408"/>
            <ac:graphicFrameMk id="4" creationId="{00000000-0000-0000-0000-000000000000}"/>
          </ac:graphicFrameMkLst>
        </pc:graphicFrameChg>
      </pc:sldChg>
      <pc:sldChg chg="addSp delSp modSp add mod">
        <pc:chgData name="Ricardo Sérgio Souza e Sousa" userId="b2322a61-6b0f-42d2-a39f-a9a5f08999e4" providerId="ADAL" clId="{F7F79181-87BF-44AE-B828-0B657792DFE7}" dt="2022-05-02T16:24:37.490" v="7488"/>
        <pc:sldMkLst>
          <pc:docMk/>
          <pc:sldMk cId="0" sldId="409"/>
        </pc:sldMkLst>
        <pc:spChg chg="del">
          <ac:chgData name="Ricardo Sérgio Souza e Sousa" userId="b2322a61-6b0f-42d2-a39f-a9a5f08999e4" providerId="ADAL" clId="{F7F79181-87BF-44AE-B828-0B657792DFE7}" dt="2022-05-02T16:24:27.431" v="7485" actId="478"/>
          <ac:spMkLst>
            <pc:docMk/>
            <pc:sldMk cId="0" sldId="409"/>
            <ac:spMk id="4" creationId="{00000000-0000-0000-0000-000000000000}"/>
          </ac:spMkLst>
        </pc:spChg>
        <pc:spChg chg="add del mod">
          <ac:chgData name="Ricardo Sérgio Souza e Sousa" userId="b2322a61-6b0f-42d2-a39f-a9a5f08999e4" providerId="ADAL" clId="{F7F79181-87BF-44AE-B828-0B657792DFE7}" dt="2022-05-02T16:24:37.171" v="7487" actId="478"/>
          <ac:spMkLst>
            <pc:docMk/>
            <pc:sldMk cId="0" sldId="409"/>
            <ac:spMk id="5" creationId="{3C94BAA1-D378-B52A-41E0-D6F926701873}"/>
          </ac:spMkLst>
        </pc:spChg>
        <pc:spChg chg="add mod">
          <ac:chgData name="Ricardo Sérgio Souza e Sousa" userId="b2322a61-6b0f-42d2-a39f-a9a5f08999e4" providerId="ADAL" clId="{F7F79181-87BF-44AE-B828-0B657792DFE7}" dt="2022-05-02T16:24:37.490" v="7488"/>
          <ac:spMkLst>
            <pc:docMk/>
            <pc:sldMk cId="0" sldId="409"/>
            <ac:spMk id="6" creationId="{113021CE-2761-84B1-7863-933E57AF74E5}"/>
          </ac:spMkLst>
        </pc:spChg>
        <pc:graphicFrameChg chg="modGraphic">
          <ac:chgData name="Ricardo Sérgio Souza e Sousa" userId="b2322a61-6b0f-42d2-a39f-a9a5f08999e4" providerId="ADAL" clId="{F7F79181-87BF-44AE-B828-0B657792DFE7}" dt="2022-05-02T16:24:20.858" v="7484" actId="207"/>
          <ac:graphicFrameMkLst>
            <pc:docMk/>
            <pc:sldMk cId="0" sldId="409"/>
            <ac:graphicFrameMk id="3" creationId="{00000000-0000-0000-0000-000000000000}"/>
          </ac:graphicFrameMkLst>
        </pc:graphicFrameChg>
      </pc:sldChg>
      <pc:sldChg chg="addSp delSp modSp add del mod">
        <pc:chgData name="Ricardo Sérgio Souza e Sousa" userId="b2322a61-6b0f-42d2-a39f-a9a5f08999e4" providerId="ADAL" clId="{F7F79181-87BF-44AE-B828-0B657792DFE7}" dt="2022-05-02T16:35:32.180" v="7847" actId="47"/>
        <pc:sldMkLst>
          <pc:docMk/>
          <pc:sldMk cId="0" sldId="410"/>
        </pc:sldMkLst>
        <pc:spChg chg="del">
          <ac:chgData name="Ricardo Sérgio Souza e Sousa" userId="b2322a61-6b0f-42d2-a39f-a9a5f08999e4" providerId="ADAL" clId="{F7F79181-87BF-44AE-B828-0B657792DFE7}" dt="2022-05-02T16:24:58.588" v="7513" actId="478"/>
          <ac:spMkLst>
            <pc:docMk/>
            <pc:sldMk cId="0" sldId="410"/>
            <ac:spMk id="4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24:54.111" v="7512" actId="20577"/>
          <ac:spMkLst>
            <pc:docMk/>
            <pc:sldMk cId="0" sldId="410"/>
            <ac:spMk id="6" creationId="{19F0D351-9207-7D55-D7D6-0C6F0EE8FFB5}"/>
          </ac:spMkLst>
        </pc:spChg>
        <pc:picChg chg="mod">
          <ac:chgData name="Ricardo Sérgio Souza e Sousa" userId="b2322a61-6b0f-42d2-a39f-a9a5f08999e4" providerId="ADAL" clId="{F7F79181-87BF-44AE-B828-0B657792DFE7}" dt="2022-05-02T16:25:00.346" v="7514" actId="1076"/>
          <ac:picMkLst>
            <pc:docMk/>
            <pc:sldMk cId="0" sldId="410"/>
            <ac:picMk id="5" creationId="{00000000-0000-0000-0000-000000000000}"/>
          </ac:picMkLst>
        </pc:picChg>
      </pc:sldChg>
      <pc:sldChg chg="addSp delSp modSp add mod">
        <pc:chgData name="Ricardo Sérgio Souza e Sousa" userId="b2322a61-6b0f-42d2-a39f-a9a5f08999e4" providerId="ADAL" clId="{F7F79181-87BF-44AE-B828-0B657792DFE7}" dt="2022-05-17T18:07:06.365" v="10409" actId="20577"/>
        <pc:sldMkLst>
          <pc:docMk/>
          <pc:sldMk cId="0" sldId="411"/>
        </pc:sldMkLst>
        <pc:spChg chg="mod">
          <ac:chgData name="Ricardo Sérgio Souza e Sousa" userId="b2322a61-6b0f-42d2-a39f-a9a5f08999e4" providerId="ADAL" clId="{F7F79181-87BF-44AE-B828-0B657792DFE7}" dt="2022-05-17T18:07:06.365" v="10409" actId="20577"/>
          <ac:spMkLst>
            <pc:docMk/>
            <pc:sldMk cId="0" sldId="411"/>
            <ac:spMk id="3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17T17:58:56.891" v="9989" actId="20577"/>
          <ac:spMkLst>
            <pc:docMk/>
            <pc:sldMk cId="0" sldId="411"/>
            <ac:spMk id="6" creationId="{D6C322E8-754D-77D4-81BC-D7E4C51CAF1D}"/>
          </ac:spMkLst>
        </pc:spChg>
        <pc:picChg chg="mod">
          <ac:chgData name="Ricardo Sérgio Souza e Sousa" userId="b2322a61-6b0f-42d2-a39f-a9a5f08999e4" providerId="ADAL" clId="{F7F79181-87BF-44AE-B828-0B657792DFE7}" dt="2022-05-17T18:06:15.750" v="10257" actId="1076"/>
          <ac:picMkLst>
            <pc:docMk/>
            <pc:sldMk cId="0" sldId="411"/>
            <ac:picMk id="4" creationId="{00000000-0000-0000-0000-000000000000}"/>
          </ac:picMkLst>
        </pc:picChg>
        <pc:picChg chg="del mod">
          <ac:chgData name="Ricardo Sérgio Souza e Sousa" userId="b2322a61-6b0f-42d2-a39f-a9a5f08999e4" providerId="ADAL" clId="{F7F79181-87BF-44AE-B828-0B657792DFE7}" dt="2022-05-17T17:59:02.168" v="9990" actId="478"/>
          <ac:picMkLst>
            <pc:docMk/>
            <pc:sldMk cId="0" sldId="411"/>
            <ac:picMk id="5" creationId="{00000000-0000-0000-0000-000000000000}"/>
          </ac:picMkLst>
        </pc:picChg>
      </pc:sldChg>
      <pc:sldChg chg="addSp modSp add mod">
        <pc:chgData name="Ricardo Sérgio Souza e Sousa" userId="b2322a61-6b0f-42d2-a39f-a9a5f08999e4" providerId="ADAL" clId="{F7F79181-87BF-44AE-B828-0B657792DFE7}" dt="2022-05-02T16:26:51.577" v="7581" actId="1076"/>
        <pc:sldMkLst>
          <pc:docMk/>
          <pc:sldMk cId="0" sldId="412"/>
        </pc:sldMkLst>
        <pc:spChg chg="mod">
          <ac:chgData name="Ricardo Sérgio Souza e Sousa" userId="b2322a61-6b0f-42d2-a39f-a9a5f08999e4" providerId="ADAL" clId="{F7F79181-87BF-44AE-B828-0B657792DFE7}" dt="2022-05-02T16:26:51.577" v="7581" actId="1076"/>
          <ac:spMkLst>
            <pc:docMk/>
            <pc:sldMk cId="0" sldId="412"/>
            <ac:spMk id="2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26:11.155" v="7572" actId="20577"/>
          <ac:spMkLst>
            <pc:docMk/>
            <pc:sldMk cId="0" sldId="412"/>
            <ac:spMk id="4" creationId="{E5AB15E1-367B-7460-262A-BE61DC1A93F2}"/>
          </ac:spMkLst>
        </pc:spChg>
        <pc:picChg chg="mod">
          <ac:chgData name="Ricardo Sérgio Souza e Sousa" userId="b2322a61-6b0f-42d2-a39f-a9a5f08999e4" providerId="ADAL" clId="{F7F79181-87BF-44AE-B828-0B657792DFE7}" dt="2022-05-02T16:26:45.524" v="7579" actId="1076"/>
          <ac:picMkLst>
            <pc:docMk/>
            <pc:sldMk cId="0" sldId="412"/>
            <ac:picMk id="3" creationId="{00000000-0000-0000-0000-000000000000}"/>
          </ac:picMkLst>
        </pc:picChg>
      </pc:sldChg>
      <pc:sldChg chg="addSp modSp add mod">
        <pc:chgData name="Ricardo Sérgio Souza e Sousa" userId="b2322a61-6b0f-42d2-a39f-a9a5f08999e4" providerId="ADAL" clId="{F7F79181-87BF-44AE-B828-0B657792DFE7}" dt="2022-05-02T16:27:45.272" v="7590"/>
        <pc:sldMkLst>
          <pc:docMk/>
          <pc:sldMk cId="0" sldId="413"/>
        </pc:sldMkLst>
        <pc:spChg chg="mod">
          <ac:chgData name="Ricardo Sérgio Souza e Sousa" userId="b2322a61-6b0f-42d2-a39f-a9a5f08999e4" providerId="ADAL" clId="{F7F79181-87BF-44AE-B828-0B657792DFE7}" dt="2022-05-02T16:27:34.331" v="7589" actId="1076"/>
          <ac:spMkLst>
            <pc:docMk/>
            <pc:sldMk cId="0" sldId="413"/>
            <ac:spMk id="2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27:45.272" v="7590"/>
          <ac:spMkLst>
            <pc:docMk/>
            <pc:sldMk cId="0" sldId="413"/>
            <ac:spMk id="4" creationId="{1442C9C2-143D-87CD-8F61-1F06B474EDA0}"/>
          </ac:spMkLst>
        </pc:spChg>
        <pc:picChg chg="mod">
          <ac:chgData name="Ricardo Sérgio Souza e Sousa" userId="b2322a61-6b0f-42d2-a39f-a9a5f08999e4" providerId="ADAL" clId="{F7F79181-87BF-44AE-B828-0B657792DFE7}" dt="2022-05-02T16:26:55.441" v="7582" actId="1076"/>
          <ac:picMkLst>
            <pc:docMk/>
            <pc:sldMk cId="0" sldId="413"/>
            <ac:picMk id="1026" creationId="{00000000-0000-0000-0000-000000000000}"/>
          </ac:picMkLst>
        </pc:picChg>
      </pc:sldChg>
      <pc:sldChg chg="addSp delSp modSp add mod">
        <pc:chgData name="Ricardo Sérgio Souza e Sousa" userId="b2322a61-6b0f-42d2-a39f-a9a5f08999e4" providerId="ADAL" clId="{F7F79181-87BF-44AE-B828-0B657792DFE7}" dt="2022-05-02T16:28:26.889" v="7636" actId="14100"/>
        <pc:sldMkLst>
          <pc:docMk/>
          <pc:sldMk cId="0" sldId="414"/>
        </pc:sldMkLst>
        <pc:spChg chg="del">
          <ac:chgData name="Ricardo Sérgio Souza e Sousa" userId="b2322a61-6b0f-42d2-a39f-a9a5f08999e4" providerId="ADAL" clId="{F7F79181-87BF-44AE-B828-0B657792DFE7}" dt="2022-05-02T16:28:07.508" v="7629" actId="478"/>
          <ac:spMkLst>
            <pc:docMk/>
            <pc:sldMk cId="0" sldId="414"/>
            <ac:spMk id="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28:26.889" v="7636" actId="14100"/>
          <ac:spMkLst>
            <pc:docMk/>
            <pc:sldMk cId="0" sldId="414"/>
            <ac:spMk id="4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27:59.073" v="7628" actId="20577"/>
          <ac:spMkLst>
            <pc:docMk/>
            <pc:sldMk cId="0" sldId="414"/>
            <ac:spMk id="5" creationId="{A805B84E-625A-E920-7B8B-3C23EB2EBFD3}"/>
          </ac:spMkLst>
        </pc:spChg>
        <pc:picChg chg="mod">
          <ac:chgData name="Ricardo Sérgio Souza e Sousa" userId="b2322a61-6b0f-42d2-a39f-a9a5f08999e4" providerId="ADAL" clId="{F7F79181-87BF-44AE-B828-0B657792DFE7}" dt="2022-05-02T16:28:23.931" v="7635" actId="1076"/>
          <ac:picMkLst>
            <pc:docMk/>
            <pc:sldMk cId="0" sldId="414"/>
            <ac:picMk id="3074" creationId="{00000000-0000-0000-0000-000000000000}"/>
          </ac:picMkLst>
        </pc:picChg>
      </pc:sldChg>
      <pc:sldChg chg="addSp modSp add mod ord">
        <pc:chgData name="Ricardo Sérgio Souza e Sousa" userId="b2322a61-6b0f-42d2-a39f-a9a5f08999e4" providerId="ADAL" clId="{F7F79181-87BF-44AE-B828-0B657792DFE7}" dt="2022-05-02T16:29:35.468" v="7649" actId="1076"/>
        <pc:sldMkLst>
          <pc:docMk/>
          <pc:sldMk cId="0" sldId="415"/>
        </pc:sldMkLst>
        <pc:spChg chg="mod">
          <ac:chgData name="Ricardo Sérgio Souza e Sousa" userId="b2322a61-6b0f-42d2-a39f-a9a5f08999e4" providerId="ADAL" clId="{F7F79181-87BF-44AE-B828-0B657792DFE7}" dt="2022-05-02T16:29:35.468" v="7649" actId="1076"/>
          <ac:spMkLst>
            <pc:docMk/>
            <pc:sldMk cId="0" sldId="415"/>
            <ac:spMk id="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29:32.250" v="7648" actId="1076"/>
          <ac:spMkLst>
            <pc:docMk/>
            <pc:sldMk cId="0" sldId="415"/>
            <ac:spMk id="3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28:33.805" v="7637"/>
          <ac:spMkLst>
            <pc:docMk/>
            <pc:sldMk cId="0" sldId="415"/>
            <ac:spMk id="4" creationId="{7730035A-C51B-4FAC-D82E-25D6D63AAD01}"/>
          </ac:spMkLst>
        </pc:spChg>
      </pc:sldChg>
      <pc:sldChg chg="addSp modSp add mod ord">
        <pc:chgData name="Ricardo Sérgio Souza e Sousa" userId="b2322a61-6b0f-42d2-a39f-a9a5f08999e4" providerId="ADAL" clId="{F7F79181-87BF-44AE-B828-0B657792DFE7}" dt="2022-05-02T16:30:24.089" v="7671" actId="1035"/>
        <pc:sldMkLst>
          <pc:docMk/>
          <pc:sldMk cId="0" sldId="416"/>
        </pc:sldMkLst>
        <pc:spChg chg="mod">
          <ac:chgData name="Ricardo Sérgio Souza e Sousa" userId="b2322a61-6b0f-42d2-a39f-a9a5f08999e4" providerId="ADAL" clId="{F7F79181-87BF-44AE-B828-0B657792DFE7}" dt="2022-05-02T16:30:16.239" v="7658" actId="12"/>
          <ac:spMkLst>
            <pc:docMk/>
            <pc:sldMk cId="0" sldId="416"/>
            <ac:spMk id="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30:24.089" v="7671" actId="1035"/>
          <ac:spMkLst>
            <pc:docMk/>
            <pc:sldMk cId="0" sldId="416"/>
            <ac:spMk id="3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30:24.089" v="7671" actId="1035"/>
          <ac:spMkLst>
            <pc:docMk/>
            <pc:sldMk cId="0" sldId="416"/>
            <ac:spMk id="4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29:55.680" v="7652"/>
          <ac:spMkLst>
            <pc:docMk/>
            <pc:sldMk cId="0" sldId="416"/>
            <ac:spMk id="5" creationId="{28081FD4-D3E7-B600-ECF5-8A461EA6619E}"/>
          </ac:spMkLst>
        </pc:spChg>
      </pc:sldChg>
      <pc:sldChg chg="addSp modSp add mod ord">
        <pc:chgData name="Ricardo Sérgio Souza e Sousa" userId="b2322a61-6b0f-42d2-a39f-a9a5f08999e4" providerId="ADAL" clId="{F7F79181-87BF-44AE-B828-0B657792DFE7}" dt="2022-05-02T16:30:45.762" v="7678" actId="12"/>
        <pc:sldMkLst>
          <pc:docMk/>
          <pc:sldMk cId="0" sldId="417"/>
        </pc:sldMkLst>
        <pc:spChg chg="mod">
          <ac:chgData name="Ricardo Sérgio Souza e Sousa" userId="b2322a61-6b0f-42d2-a39f-a9a5f08999e4" providerId="ADAL" clId="{F7F79181-87BF-44AE-B828-0B657792DFE7}" dt="2022-05-02T16:30:45.762" v="7678" actId="12"/>
          <ac:spMkLst>
            <pc:docMk/>
            <pc:sldMk cId="0" sldId="417"/>
            <ac:spMk id="3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30:33.037" v="7674" actId="207"/>
          <ac:spMkLst>
            <pc:docMk/>
            <pc:sldMk cId="0" sldId="417"/>
            <ac:spMk id="4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30:34.414" v="7675"/>
          <ac:spMkLst>
            <pc:docMk/>
            <pc:sldMk cId="0" sldId="417"/>
            <ac:spMk id="5" creationId="{6403960A-57C7-B459-555B-3DAEDDE2BFC2}"/>
          </ac:spMkLst>
        </pc:spChg>
      </pc:sldChg>
      <pc:sldChg chg="addSp delSp modSp add mod">
        <pc:chgData name="Ricardo Sérgio Souza e Sousa" userId="b2322a61-6b0f-42d2-a39f-a9a5f08999e4" providerId="ADAL" clId="{F7F79181-87BF-44AE-B828-0B657792DFE7}" dt="2022-05-02T16:31:06.956" v="7704" actId="1076"/>
        <pc:sldMkLst>
          <pc:docMk/>
          <pc:sldMk cId="0" sldId="418"/>
        </pc:sldMkLst>
        <pc:spChg chg="del">
          <ac:chgData name="Ricardo Sérgio Souza e Sousa" userId="b2322a61-6b0f-42d2-a39f-a9a5f08999e4" providerId="ADAL" clId="{F7F79181-87BF-44AE-B828-0B657792DFE7}" dt="2022-05-02T16:31:04.495" v="7703" actId="478"/>
          <ac:spMkLst>
            <pc:docMk/>
            <pc:sldMk cId="0" sldId="418"/>
            <ac:spMk id="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02T16:31:06.956" v="7704" actId="1076"/>
          <ac:spMkLst>
            <pc:docMk/>
            <pc:sldMk cId="0" sldId="418"/>
            <ac:spMk id="4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31:01.931" v="7702" actId="20577"/>
          <ac:spMkLst>
            <pc:docMk/>
            <pc:sldMk cId="0" sldId="418"/>
            <ac:spMk id="5" creationId="{19EB5FA9-7174-2D95-85C7-18D20131B2E4}"/>
          </ac:spMkLst>
        </pc:spChg>
        <pc:picChg chg="mod">
          <ac:chgData name="Ricardo Sérgio Souza e Sousa" userId="b2322a61-6b0f-42d2-a39f-a9a5f08999e4" providerId="ADAL" clId="{F7F79181-87BF-44AE-B828-0B657792DFE7}" dt="2022-05-02T16:31:06.956" v="7704" actId="1076"/>
          <ac:picMkLst>
            <pc:docMk/>
            <pc:sldMk cId="0" sldId="418"/>
            <ac:picMk id="4098" creationId="{00000000-0000-0000-0000-000000000000}"/>
          </ac:picMkLst>
        </pc:picChg>
      </pc:sldChg>
      <pc:sldChg chg="addSp delSp modSp add mod">
        <pc:chgData name="Ricardo Sérgio Souza e Sousa" userId="b2322a61-6b0f-42d2-a39f-a9a5f08999e4" providerId="ADAL" clId="{F7F79181-87BF-44AE-B828-0B657792DFE7}" dt="2022-05-02T16:31:45.311" v="7734" actId="1076"/>
        <pc:sldMkLst>
          <pc:docMk/>
          <pc:sldMk cId="0" sldId="419"/>
        </pc:sldMkLst>
        <pc:spChg chg="mod">
          <ac:chgData name="Ricardo Sérgio Souza e Sousa" userId="b2322a61-6b0f-42d2-a39f-a9a5f08999e4" providerId="ADAL" clId="{F7F79181-87BF-44AE-B828-0B657792DFE7}" dt="2022-05-02T16:31:45.311" v="7734" actId="1076"/>
          <ac:spMkLst>
            <pc:docMk/>
            <pc:sldMk cId="0" sldId="419"/>
            <ac:spMk id="3" creationId="{00000000-0000-0000-0000-000000000000}"/>
          </ac:spMkLst>
        </pc:spChg>
        <pc:spChg chg="del">
          <ac:chgData name="Ricardo Sérgio Souza e Sousa" userId="b2322a61-6b0f-42d2-a39f-a9a5f08999e4" providerId="ADAL" clId="{F7F79181-87BF-44AE-B828-0B657792DFE7}" dt="2022-05-02T16:31:23.084" v="7727" actId="478"/>
          <ac:spMkLst>
            <pc:docMk/>
            <pc:sldMk cId="0" sldId="419"/>
            <ac:spMk id="4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31:18.882" v="7726" actId="20577"/>
          <ac:spMkLst>
            <pc:docMk/>
            <pc:sldMk cId="0" sldId="419"/>
            <ac:spMk id="5" creationId="{D57308CC-E7CC-40F4-E4F1-476A7BD93635}"/>
          </ac:spMkLst>
        </pc:spChg>
      </pc:sldChg>
      <pc:sldChg chg="addSp delSp modSp add mod">
        <pc:chgData name="Ricardo Sérgio Souza e Sousa" userId="b2322a61-6b0f-42d2-a39f-a9a5f08999e4" providerId="ADAL" clId="{F7F79181-87BF-44AE-B828-0B657792DFE7}" dt="2022-05-02T16:32:42.109" v="7758" actId="1076"/>
        <pc:sldMkLst>
          <pc:docMk/>
          <pc:sldMk cId="0" sldId="420"/>
        </pc:sldMkLst>
        <pc:spChg chg="mod">
          <ac:chgData name="Ricardo Sérgio Souza e Sousa" userId="b2322a61-6b0f-42d2-a39f-a9a5f08999e4" providerId="ADAL" clId="{F7F79181-87BF-44AE-B828-0B657792DFE7}" dt="2022-05-02T16:32:42.109" v="7758" actId="1076"/>
          <ac:spMkLst>
            <pc:docMk/>
            <pc:sldMk cId="0" sldId="420"/>
            <ac:spMk id="2" creationId="{00000000-0000-0000-0000-000000000000}"/>
          </ac:spMkLst>
        </pc:spChg>
        <pc:spChg chg="del">
          <ac:chgData name="Ricardo Sérgio Souza e Sousa" userId="b2322a61-6b0f-42d2-a39f-a9a5f08999e4" providerId="ADAL" clId="{F7F79181-87BF-44AE-B828-0B657792DFE7}" dt="2022-05-02T16:31:49.136" v="7735" actId="478"/>
          <ac:spMkLst>
            <pc:docMk/>
            <pc:sldMk cId="0" sldId="420"/>
            <ac:spMk id="4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31:53.993" v="7736"/>
          <ac:spMkLst>
            <pc:docMk/>
            <pc:sldMk cId="0" sldId="420"/>
            <ac:spMk id="5" creationId="{AD6E8DE1-A94B-2399-F7D7-E60E4729E686}"/>
          </ac:spMkLst>
        </pc:spChg>
        <pc:picChg chg="mod">
          <ac:chgData name="Ricardo Sérgio Souza e Sousa" userId="b2322a61-6b0f-42d2-a39f-a9a5f08999e4" providerId="ADAL" clId="{F7F79181-87BF-44AE-B828-0B657792DFE7}" dt="2022-05-02T16:32:04.130" v="7740" actId="1076"/>
          <ac:picMkLst>
            <pc:docMk/>
            <pc:sldMk cId="0" sldId="420"/>
            <ac:picMk id="5122" creationId="{00000000-0000-0000-0000-000000000000}"/>
          </ac:picMkLst>
        </pc:picChg>
      </pc:sldChg>
      <pc:sldChg chg="addSp delSp modSp add mod">
        <pc:chgData name="Ricardo Sérgio Souza e Sousa" userId="b2322a61-6b0f-42d2-a39f-a9a5f08999e4" providerId="ADAL" clId="{F7F79181-87BF-44AE-B828-0B657792DFE7}" dt="2022-05-02T16:33:05.704" v="7766" actId="1076"/>
        <pc:sldMkLst>
          <pc:docMk/>
          <pc:sldMk cId="0" sldId="421"/>
        </pc:sldMkLst>
        <pc:spChg chg="mod">
          <ac:chgData name="Ricardo Sérgio Souza e Sousa" userId="b2322a61-6b0f-42d2-a39f-a9a5f08999e4" providerId="ADAL" clId="{F7F79181-87BF-44AE-B828-0B657792DFE7}" dt="2022-05-02T16:33:05.704" v="7766" actId="1076"/>
          <ac:spMkLst>
            <pc:docMk/>
            <pc:sldMk cId="0" sldId="421"/>
            <ac:spMk id="2" creationId="{00000000-0000-0000-0000-000000000000}"/>
          </ac:spMkLst>
        </pc:spChg>
        <pc:spChg chg="del">
          <ac:chgData name="Ricardo Sérgio Souza e Sousa" userId="b2322a61-6b0f-42d2-a39f-a9a5f08999e4" providerId="ADAL" clId="{F7F79181-87BF-44AE-B828-0B657792DFE7}" dt="2022-05-02T16:32:52.327" v="7760" actId="478"/>
          <ac:spMkLst>
            <pc:docMk/>
            <pc:sldMk cId="0" sldId="421"/>
            <ac:spMk id="3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32:49.734" v="7759"/>
          <ac:spMkLst>
            <pc:docMk/>
            <pc:sldMk cId="0" sldId="421"/>
            <ac:spMk id="4" creationId="{34E2C8FE-691E-904A-4E0F-403B4AC340BB}"/>
          </ac:spMkLst>
        </pc:spChg>
      </pc:sldChg>
      <pc:sldChg chg="addSp delSp modSp add del mod">
        <pc:chgData name="Ricardo Sérgio Souza e Sousa" userId="b2322a61-6b0f-42d2-a39f-a9a5f08999e4" providerId="ADAL" clId="{F7F79181-87BF-44AE-B828-0B657792DFE7}" dt="2022-05-02T16:33:50.503" v="7794" actId="47"/>
        <pc:sldMkLst>
          <pc:docMk/>
          <pc:sldMk cId="0" sldId="422"/>
        </pc:sldMkLst>
        <pc:spChg chg="mod">
          <ac:chgData name="Ricardo Sérgio Souza e Sousa" userId="b2322a61-6b0f-42d2-a39f-a9a5f08999e4" providerId="ADAL" clId="{F7F79181-87BF-44AE-B828-0B657792DFE7}" dt="2022-05-02T16:33:30.624" v="7792" actId="1076"/>
          <ac:spMkLst>
            <pc:docMk/>
            <pc:sldMk cId="0" sldId="422"/>
            <ac:spMk id="2" creationId="{00000000-0000-0000-0000-000000000000}"/>
          </ac:spMkLst>
        </pc:spChg>
        <pc:spChg chg="del">
          <ac:chgData name="Ricardo Sérgio Souza e Sousa" userId="b2322a61-6b0f-42d2-a39f-a9a5f08999e4" providerId="ADAL" clId="{F7F79181-87BF-44AE-B828-0B657792DFE7}" dt="2022-05-02T16:33:17.990" v="7786" actId="478"/>
          <ac:spMkLst>
            <pc:docMk/>
            <pc:sldMk cId="0" sldId="422"/>
            <ac:spMk id="3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33:15.732" v="7785" actId="20577"/>
          <ac:spMkLst>
            <pc:docMk/>
            <pc:sldMk cId="0" sldId="422"/>
            <ac:spMk id="4" creationId="{FD772243-2F1B-6F20-DF2D-486EF5A6A188}"/>
          </ac:spMkLst>
        </pc:spChg>
      </pc:sldChg>
      <pc:sldChg chg="addSp modSp add del">
        <pc:chgData name="Ricardo Sérgio Souza e Sousa" userId="b2322a61-6b0f-42d2-a39f-a9a5f08999e4" providerId="ADAL" clId="{F7F79181-87BF-44AE-B828-0B657792DFE7}" dt="2022-05-02T16:33:54.819" v="7795" actId="47"/>
        <pc:sldMkLst>
          <pc:docMk/>
          <pc:sldMk cId="0" sldId="423"/>
        </pc:sldMkLst>
        <pc:spChg chg="add mod">
          <ac:chgData name="Ricardo Sérgio Souza e Sousa" userId="b2322a61-6b0f-42d2-a39f-a9a5f08999e4" providerId="ADAL" clId="{F7F79181-87BF-44AE-B828-0B657792DFE7}" dt="2022-05-02T16:33:37.557" v="7793"/>
          <ac:spMkLst>
            <pc:docMk/>
            <pc:sldMk cId="0" sldId="423"/>
            <ac:spMk id="4" creationId="{9C32E41A-7F42-0C2D-1CCD-C9CB9041E28D}"/>
          </ac:spMkLst>
        </pc:spChg>
      </pc:sldChg>
      <pc:sldChg chg="add del">
        <pc:chgData name="Ricardo Sérgio Souza e Sousa" userId="b2322a61-6b0f-42d2-a39f-a9a5f08999e4" providerId="ADAL" clId="{F7F79181-87BF-44AE-B828-0B657792DFE7}" dt="2022-05-02T16:34:04.946" v="7796" actId="47"/>
        <pc:sldMkLst>
          <pc:docMk/>
          <pc:sldMk cId="0" sldId="424"/>
        </pc:sldMkLst>
      </pc:sldChg>
      <pc:sldChg chg="addSp modSp add del">
        <pc:chgData name="Ricardo Sérgio Souza e Sousa" userId="b2322a61-6b0f-42d2-a39f-a9a5f08999e4" providerId="ADAL" clId="{F7F79181-87BF-44AE-B828-0B657792DFE7}" dt="2022-05-02T16:34:16.390" v="7798" actId="47"/>
        <pc:sldMkLst>
          <pc:docMk/>
          <pc:sldMk cId="0" sldId="425"/>
        </pc:sldMkLst>
        <pc:spChg chg="add mod">
          <ac:chgData name="Ricardo Sérgio Souza e Sousa" userId="b2322a61-6b0f-42d2-a39f-a9a5f08999e4" providerId="ADAL" clId="{F7F79181-87BF-44AE-B828-0B657792DFE7}" dt="2022-05-02T16:34:10.438" v="7797"/>
          <ac:spMkLst>
            <pc:docMk/>
            <pc:sldMk cId="0" sldId="425"/>
            <ac:spMk id="4" creationId="{887CC383-7780-0DB4-8F38-FDBCA7C965D2}"/>
          </ac:spMkLst>
        </pc:spChg>
      </pc:sldChg>
      <pc:sldChg chg="add del">
        <pc:chgData name="Ricardo Sérgio Souza e Sousa" userId="b2322a61-6b0f-42d2-a39f-a9a5f08999e4" providerId="ADAL" clId="{F7F79181-87BF-44AE-B828-0B657792DFE7}" dt="2022-05-02T16:34:21.529" v="7799" actId="47"/>
        <pc:sldMkLst>
          <pc:docMk/>
          <pc:sldMk cId="0" sldId="426"/>
        </pc:sldMkLst>
      </pc:sldChg>
      <pc:sldChg chg="addSp delSp modSp add mod">
        <pc:chgData name="Ricardo Sérgio Souza e Sousa" userId="b2322a61-6b0f-42d2-a39f-a9a5f08999e4" providerId="ADAL" clId="{F7F79181-87BF-44AE-B828-0B657792DFE7}" dt="2022-05-02T16:34:43.443" v="7825" actId="12"/>
        <pc:sldMkLst>
          <pc:docMk/>
          <pc:sldMk cId="0" sldId="427"/>
        </pc:sldMkLst>
        <pc:spChg chg="mod">
          <ac:chgData name="Ricardo Sérgio Souza e Sousa" userId="b2322a61-6b0f-42d2-a39f-a9a5f08999e4" providerId="ADAL" clId="{F7F79181-87BF-44AE-B828-0B657792DFE7}" dt="2022-05-02T16:34:43.443" v="7825" actId="12"/>
          <ac:spMkLst>
            <pc:docMk/>
            <pc:sldMk cId="0" sldId="427"/>
            <ac:spMk id="2" creationId="{00000000-0000-0000-0000-000000000000}"/>
          </ac:spMkLst>
        </pc:spChg>
        <pc:spChg chg="del">
          <ac:chgData name="Ricardo Sérgio Souza e Sousa" userId="b2322a61-6b0f-42d2-a39f-a9a5f08999e4" providerId="ADAL" clId="{F7F79181-87BF-44AE-B828-0B657792DFE7}" dt="2022-05-02T16:34:35.296" v="7821" actId="478"/>
          <ac:spMkLst>
            <pc:docMk/>
            <pc:sldMk cId="0" sldId="427"/>
            <ac:spMk id="3" creationId="{00000000-0000-0000-0000-000000000000}"/>
          </ac:spMkLst>
        </pc:spChg>
        <pc:spChg chg="add mod">
          <ac:chgData name="Ricardo Sérgio Souza e Sousa" userId="b2322a61-6b0f-42d2-a39f-a9a5f08999e4" providerId="ADAL" clId="{F7F79181-87BF-44AE-B828-0B657792DFE7}" dt="2022-05-02T16:34:32.526" v="7820" actId="20577"/>
          <ac:spMkLst>
            <pc:docMk/>
            <pc:sldMk cId="0" sldId="427"/>
            <ac:spMk id="4" creationId="{62759F08-B134-E2FE-FC98-967CF9C191B9}"/>
          </ac:spMkLst>
        </pc:spChg>
      </pc:sldChg>
      <pc:sldChg chg="addSp delSp modSp mod">
        <pc:chgData name="Ricardo Sérgio Souza e Sousa" userId="b2322a61-6b0f-42d2-a39f-a9a5f08999e4" providerId="ADAL" clId="{F7F79181-87BF-44AE-B828-0B657792DFE7}" dt="2022-05-17T14:25:37.222" v="9025" actId="14100"/>
        <pc:sldMkLst>
          <pc:docMk/>
          <pc:sldMk cId="3304532676" sldId="472"/>
        </pc:sldMkLst>
        <pc:spChg chg="mod">
          <ac:chgData name="Ricardo Sérgio Souza e Sousa" userId="b2322a61-6b0f-42d2-a39f-a9a5f08999e4" providerId="ADAL" clId="{F7F79181-87BF-44AE-B828-0B657792DFE7}" dt="2022-05-17T14:25:37.222" v="9025" actId="14100"/>
          <ac:spMkLst>
            <pc:docMk/>
            <pc:sldMk cId="3304532676" sldId="472"/>
            <ac:spMk id="2" creationId="{00000000-0000-0000-0000-000000000000}"/>
          </ac:spMkLst>
        </pc:spChg>
        <pc:grpChg chg="del">
          <ac:chgData name="Ricardo Sérgio Souza e Sousa" userId="b2322a61-6b0f-42d2-a39f-a9a5f08999e4" providerId="ADAL" clId="{F7F79181-87BF-44AE-B828-0B657792DFE7}" dt="2022-04-28T11:50:48.736" v="45" actId="478"/>
          <ac:grpSpMkLst>
            <pc:docMk/>
            <pc:sldMk cId="3304532676" sldId="472"/>
            <ac:grpSpMk id="32" creationId="{2F88448C-774F-4384-A90B-828E8DDEB7D4}"/>
          </ac:grpSpMkLst>
        </pc:grpChg>
        <pc:picChg chg="mod">
          <ac:chgData name="Ricardo Sérgio Souza e Sousa" userId="b2322a61-6b0f-42d2-a39f-a9a5f08999e4" providerId="ADAL" clId="{F7F79181-87BF-44AE-B828-0B657792DFE7}" dt="2022-04-28T12:01:07.753" v="459" actId="1076"/>
          <ac:picMkLst>
            <pc:docMk/>
            <pc:sldMk cId="3304532676" sldId="472"/>
            <ac:picMk id="4" creationId="{4F672C2A-57BD-4192-8F5E-642D875B32D4}"/>
          </ac:picMkLst>
        </pc:picChg>
        <pc:picChg chg="add mod">
          <ac:chgData name="Ricardo Sérgio Souza e Sousa" userId="b2322a61-6b0f-42d2-a39f-a9a5f08999e4" providerId="ADAL" clId="{F7F79181-87BF-44AE-B828-0B657792DFE7}" dt="2022-04-28T11:55:01.854" v="174" actId="1076"/>
          <ac:picMkLst>
            <pc:docMk/>
            <pc:sldMk cId="3304532676" sldId="472"/>
            <ac:picMk id="6" creationId="{398AD6EE-FC6C-42F0-8690-BC74F881C875}"/>
          </ac:picMkLst>
        </pc:picChg>
      </pc:sldChg>
      <pc:sldChg chg="addSp delSp modSp add mod ord modClrScheme chgLayout">
        <pc:chgData name="Ricardo Sérgio Souza e Sousa" userId="b2322a61-6b0f-42d2-a39f-a9a5f08999e4" providerId="ADAL" clId="{F7F79181-87BF-44AE-B828-0B657792DFE7}" dt="2022-05-17T18:10:06.124" v="10704" actId="20577"/>
        <pc:sldMkLst>
          <pc:docMk/>
          <pc:sldMk cId="2116528502" sldId="475"/>
        </pc:sldMkLst>
        <pc:spChg chg="del">
          <ac:chgData name="Ricardo Sérgio Souza e Sousa" userId="b2322a61-6b0f-42d2-a39f-a9a5f08999e4" providerId="ADAL" clId="{F7F79181-87BF-44AE-B828-0B657792DFE7}" dt="2022-05-02T11:05:10.917" v="3856" actId="478"/>
          <ac:spMkLst>
            <pc:docMk/>
            <pc:sldMk cId="2116528502" sldId="475"/>
            <ac:spMk id="4" creationId="{9D33D323-552A-4227-B184-D5F46338F2EE}"/>
          </ac:spMkLst>
        </pc:spChg>
        <pc:spChg chg="add del mod">
          <ac:chgData name="Ricardo Sérgio Souza e Sousa" userId="b2322a61-6b0f-42d2-a39f-a9a5f08999e4" providerId="ADAL" clId="{F7F79181-87BF-44AE-B828-0B657792DFE7}" dt="2022-05-02T11:05:13.544" v="3873" actId="478"/>
          <ac:spMkLst>
            <pc:docMk/>
            <pc:sldMk cId="2116528502" sldId="475"/>
            <ac:spMk id="5" creationId="{AEB635AB-D0BB-37A2-3A49-06983748D94B}"/>
          </ac:spMkLst>
        </pc:spChg>
        <pc:spChg chg="mod ord">
          <ac:chgData name="Ricardo Sérgio Souza e Sousa" userId="b2322a61-6b0f-42d2-a39f-a9a5f08999e4" providerId="ADAL" clId="{F7F79181-87BF-44AE-B828-0B657792DFE7}" dt="2022-05-02T11:05:48.626" v="3908"/>
          <ac:spMkLst>
            <pc:docMk/>
            <pc:sldMk cId="2116528502" sldId="475"/>
            <ac:spMk id="7" creationId="{CC55BEE0-154A-44D2-8C51-6EFB4BC51A8E}"/>
          </ac:spMkLst>
        </pc:spChg>
        <pc:spChg chg="mod ord">
          <ac:chgData name="Ricardo Sérgio Souza e Sousa" userId="b2322a61-6b0f-42d2-a39f-a9a5f08999e4" providerId="ADAL" clId="{F7F79181-87BF-44AE-B828-0B657792DFE7}" dt="2022-05-17T18:10:06.124" v="10704" actId="20577"/>
          <ac:spMkLst>
            <pc:docMk/>
            <pc:sldMk cId="2116528502" sldId="475"/>
            <ac:spMk id="8" creationId="{C1B9D129-07C7-4EB0-BC65-76BDBD9F544B}"/>
          </ac:spMkLst>
        </pc:spChg>
        <pc:spChg chg="add mod">
          <ac:chgData name="Ricardo Sérgio Souza e Sousa" userId="b2322a61-6b0f-42d2-a39f-a9a5f08999e4" providerId="ADAL" clId="{F7F79181-87BF-44AE-B828-0B657792DFE7}" dt="2022-05-02T11:08:21.565" v="4040" actId="20577"/>
          <ac:spMkLst>
            <pc:docMk/>
            <pc:sldMk cId="2116528502" sldId="475"/>
            <ac:spMk id="9" creationId="{25C1234C-9AD2-45FA-D4AC-C49B087EA928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5-02T11:05:14.066" v="3875"/>
          <ac:graphicFrameMkLst>
            <pc:docMk/>
            <pc:sldMk cId="2116528502" sldId="475"/>
            <ac:graphicFrameMk id="6" creationId="{8B601643-B97A-23B3-EC5B-6B82EF2F7175}"/>
          </ac:graphicFrameMkLst>
        </pc:graphicFrameChg>
        <pc:picChg chg="mod ord">
          <ac:chgData name="Ricardo Sérgio Souza e Sousa" userId="b2322a61-6b0f-42d2-a39f-a9a5f08999e4" providerId="ADAL" clId="{F7F79181-87BF-44AE-B828-0B657792DFE7}" dt="2022-05-02T11:05:48.626" v="3908"/>
          <ac:picMkLst>
            <pc:docMk/>
            <pc:sldMk cId="2116528502" sldId="475"/>
            <ac:picMk id="3" creationId="{A65F1B4B-E4E4-4510-9ECE-C00D92A7707B}"/>
          </ac:picMkLst>
        </pc:picChg>
      </pc:sldChg>
      <pc:sldChg chg="del mod modClrScheme chgLayout">
        <pc:chgData name="Ricardo Sérgio Souza e Sousa" userId="b2322a61-6b0f-42d2-a39f-a9a5f08999e4" providerId="ADAL" clId="{F7F79181-87BF-44AE-B828-0B657792DFE7}" dt="2022-04-28T12:55:57.044" v="2137" actId="47"/>
        <pc:sldMkLst>
          <pc:docMk/>
          <pc:sldMk cId="574535771" sldId="492"/>
        </pc:sldMkLst>
      </pc:sldChg>
      <pc:sldChg chg="del">
        <pc:chgData name="Ricardo Sérgio Souza e Sousa" userId="b2322a61-6b0f-42d2-a39f-a9a5f08999e4" providerId="ADAL" clId="{F7F79181-87BF-44AE-B828-0B657792DFE7}" dt="2022-04-28T11:59:47.461" v="371" actId="47"/>
        <pc:sldMkLst>
          <pc:docMk/>
          <pc:sldMk cId="2770071112" sldId="493"/>
        </pc:sldMkLst>
      </pc:sldChg>
      <pc:sldChg chg="del">
        <pc:chgData name="Ricardo Sérgio Souza e Sousa" userId="b2322a61-6b0f-42d2-a39f-a9a5f08999e4" providerId="ADAL" clId="{F7F79181-87BF-44AE-B828-0B657792DFE7}" dt="2022-04-28T11:59:46.612" v="370" actId="47"/>
        <pc:sldMkLst>
          <pc:docMk/>
          <pc:sldMk cId="2015781255" sldId="494"/>
        </pc:sldMkLst>
      </pc:sldChg>
      <pc:sldChg chg="del">
        <pc:chgData name="Ricardo Sérgio Souza e Sousa" userId="b2322a61-6b0f-42d2-a39f-a9a5f08999e4" providerId="ADAL" clId="{F7F79181-87BF-44AE-B828-0B657792DFE7}" dt="2022-04-28T11:59:49.473" v="374" actId="47"/>
        <pc:sldMkLst>
          <pc:docMk/>
          <pc:sldMk cId="2024282768" sldId="495"/>
        </pc:sldMkLst>
      </pc:sldChg>
      <pc:sldChg chg="del">
        <pc:chgData name="Ricardo Sérgio Souza e Sousa" userId="b2322a61-6b0f-42d2-a39f-a9a5f08999e4" providerId="ADAL" clId="{F7F79181-87BF-44AE-B828-0B657792DFE7}" dt="2022-04-28T11:59:48.152" v="372" actId="47"/>
        <pc:sldMkLst>
          <pc:docMk/>
          <pc:sldMk cId="1923835185" sldId="496"/>
        </pc:sldMkLst>
      </pc:sldChg>
      <pc:sldChg chg="del">
        <pc:chgData name="Ricardo Sérgio Souza e Sousa" userId="b2322a61-6b0f-42d2-a39f-a9a5f08999e4" providerId="ADAL" clId="{F7F79181-87BF-44AE-B828-0B657792DFE7}" dt="2022-04-28T12:00:24.028" v="415" actId="47"/>
        <pc:sldMkLst>
          <pc:docMk/>
          <pc:sldMk cId="510632537" sldId="497"/>
        </pc:sldMkLst>
      </pc:sldChg>
      <pc:sldChg chg="del">
        <pc:chgData name="Ricardo Sérgio Souza e Sousa" userId="b2322a61-6b0f-42d2-a39f-a9a5f08999e4" providerId="ADAL" clId="{F7F79181-87BF-44AE-B828-0B657792DFE7}" dt="2022-04-28T12:00:24.896" v="416" actId="47"/>
        <pc:sldMkLst>
          <pc:docMk/>
          <pc:sldMk cId="4197700736" sldId="498"/>
        </pc:sldMkLst>
      </pc:sldChg>
      <pc:sldChg chg="del">
        <pc:chgData name="Ricardo Sérgio Souza e Sousa" userId="b2322a61-6b0f-42d2-a39f-a9a5f08999e4" providerId="ADAL" clId="{F7F79181-87BF-44AE-B828-0B657792DFE7}" dt="2022-04-28T12:00:25.687" v="417" actId="47"/>
        <pc:sldMkLst>
          <pc:docMk/>
          <pc:sldMk cId="2011170470" sldId="499"/>
        </pc:sldMkLst>
      </pc:sldChg>
      <pc:sldChg chg="del">
        <pc:chgData name="Ricardo Sérgio Souza e Sousa" userId="b2322a61-6b0f-42d2-a39f-a9a5f08999e4" providerId="ADAL" clId="{F7F79181-87BF-44AE-B828-0B657792DFE7}" dt="2022-04-28T12:00:26.466" v="419" actId="47"/>
        <pc:sldMkLst>
          <pc:docMk/>
          <pc:sldMk cId="3566377165" sldId="500"/>
        </pc:sldMkLst>
      </pc:sldChg>
      <pc:sldChg chg="del">
        <pc:chgData name="Ricardo Sérgio Souza e Sousa" userId="b2322a61-6b0f-42d2-a39f-a9a5f08999e4" providerId="ADAL" clId="{F7F79181-87BF-44AE-B828-0B657792DFE7}" dt="2022-04-28T12:00:27.321" v="422" actId="47"/>
        <pc:sldMkLst>
          <pc:docMk/>
          <pc:sldMk cId="1658997101" sldId="504"/>
        </pc:sldMkLst>
      </pc:sldChg>
      <pc:sldChg chg="del">
        <pc:chgData name="Ricardo Sérgio Souza e Sousa" userId="b2322a61-6b0f-42d2-a39f-a9a5f08999e4" providerId="ADAL" clId="{F7F79181-87BF-44AE-B828-0B657792DFE7}" dt="2022-04-28T12:00:27.553" v="423" actId="47"/>
        <pc:sldMkLst>
          <pc:docMk/>
          <pc:sldMk cId="3306047729" sldId="505"/>
        </pc:sldMkLst>
      </pc:sldChg>
      <pc:sldChg chg="del">
        <pc:chgData name="Ricardo Sérgio Souza e Sousa" userId="b2322a61-6b0f-42d2-a39f-a9a5f08999e4" providerId="ADAL" clId="{F7F79181-87BF-44AE-B828-0B657792DFE7}" dt="2022-04-28T12:00:27.735" v="424" actId="47"/>
        <pc:sldMkLst>
          <pc:docMk/>
          <pc:sldMk cId="542743496" sldId="506"/>
        </pc:sldMkLst>
      </pc:sldChg>
      <pc:sldChg chg="del">
        <pc:chgData name="Ricardo Sérgio Souza e Sousa" userId="b2322a61-6b0f-42d2-a39f-a9a5f08999e4" providerId="ADAL" clId="{F7F79181-87BF-44AE-B828-0B657792DFE7}" dt="2022-04-28T12:00:27.939" v="425" actId="47"/>
        <pc:sldMkLst>
          <pc:docMk/>
          <pc:sldMk cId="3325210691" sldId="507"/>
        </pc:sldMkLst>
      </pc:sldChg>
      <pc:sldChg chg="del">
        <pc:chgData name="Ricardo Sérgio Souza e Sousa" userId="b2322a61-6b0f-42d2-a39f-a9a5f08999e4" providerId="ADAL" clId="{F7F79181-87BF-44AE-B828-0B657792DFE7}" dt="2022-04-28T12:00:28.316" v="426" actId="47"/>
        <pc:sldMkLst>
          <pc:docMk/>
          <pc:sldMk cId="1380686034" sldId="508"/>
        </pc:sldMkLst>
      </pc:sldChg>
      <pc:sldChg chg="del">
        <pc:chgData name="Ricardo Sérgio Souza e Sousa" userId="b2322a61-6b0f-42d2-a39f-a9a5f08999e4" providerId="ADAL" clId="{F7F79181-87BF-44AE-B828-0B657792DFE7}" dt="2022-04-28T12:00:28.582" v="427" actId="47"/>
        <pc:sldMkLst>
          <pc:docMk/>
          <pc:sldMk cId="476993152" sldId="509"/>
        </pc:sldMkLst>
      </pc:sldChg>
      <pc:sldChg chg="del">
        <pc:chgData name="Ricardo Sérgio Souza e Sousa" userId="b2322a61-6b0f-42d2-a39f-a9a5f08999e4" providerId="ADAL" clId="{F7F79181-87BF-44AE-B828-0B657792DFE7}" dt="2022-04-28T12:00:28.802" v="428" actId="47"/>
        <pc:sldMkLst>
          <pc:docMk/>
          <pc:sldMk cId="1022195537" sldId="510"/>
        </pc:sldMkLst>
      </pc:sldChg>
      <pc:sldChg chg="del">
        <pc:chgData name="Ricardo Sérgio Souza e Sousa" userId="b2322a61-6b0f-42d2-a39f-a9a5f08999e4" providerId="ADAL" clId="{F7F79181-87BF-44AE-B828-0B657792DFE7}" dt="2022-04-28T12:00:29.176" v="429" actId="47"/>
        <pc:sldMkLst>
          <pc:docMk/>
          <pc:sldMk cId="3740257845" sldId="511"/>
        </pc:sldMkLst>
      </pc:sldChg>
      <pc:sldChg chg="del">
        <pc:chgData name="Ricardo Sérgio Souza e Sousa" userId="b2322a61-6b0f-42d2-a39f-a9a5f08999e4" providerId="ADAL" clId="{F7F79181-87BF-44AE-B828-0B657792DFE7}" dt="2022-04-28T12:00:26.705" v="420" actId="47"/>
        <pc:sldMkLst>
          <pc:docMk/>
          <pc:sldMk cId="3909939540" sldId="512"/>
        </pc:sldMkLst>
      </pc:sldChg>
      <pc:sldChg chg="del">
        <pc:chgData name="Ricardo Sérgio Souza e Sousa" userId="b2322a61-6b0f-42d2-a39f-a9a5f08999e4" providerId="ADAL" clId="{F7F79181-87BF-44AE-B828-0B657792DFE7}" dt="2022-05-16T18:19:21.760" v="7964" actId="47"/>
        <pc:sldMkLst>
          <pc:docMk/>
          <pc:sldMk cId="109508811" sldId="514"/>
        </pc:sldMkLst>
      </pc:sldChg>
      <pc:sldChg chg="add del">
        <pc:chgData name="Ricardo Sérgio Souza e Sousa" userId="b2322a61-6b0f-42d2-a39f-a9a5f08999e4" providerId="ADAL" clId="{F7F79181-87BF-44AE-B828-0B657792DFE7}" dt="2022-04-28T12:39:38.140" v="1278"/>
        <pc:sldMkLst>
          <pc:docMk/>
          <pc:sldMk cId="540631517" sldId="515"/>
        </pc:sldMkLst>
      </pc:sldChg>
      <pc:sldChg chg="del">
        <pc:chgData name="Ricardo Sérgio Souza e Sousa" userId="b2322a61-6b0f-42d2-a39f-a9a5f08999e4" providerId="ADAL" clId="{F7F79181-87BF-44AE-B828-0B657792DFE7}" dt="2022-04-28T12:00:30.990" v="431" actId="47"/>
        <pc:sldMkLst>
          <pc:docMk/>
          <pc:sldMk cId="1887842462" sldId="515"/>
        </pc:sldMkLst>
      </pc:sldChg>
      <pc:sldChg chg="modSp add mod">
        <pc:chgData name="Ricardo Sérgio Souza e Sousa" userId="b2322a61-6b0f-42d2-a39f-a9a5f08999e4" providerId="ADAL" clId="{F7F79181-87BF-44AE-B828-0B657792DFE7}" dt="2022-04-28T12:52:42.051" v="1865" actId="1035"/>
        <pc:sldMkLst>
          <pc:docMk/>
          <pc:sldMk cId="2480849911" sldId="515"/>
        </pc:sldMkLst>
        <pc:spChg chg="mod">
          <ac:chgData name="Ricardo Sérgio Souza e Sousa" userId="b2322a61-6b0f-42d2-a39f-a9a5f08999e4" providerId="ADAL" clId="{F7F79181-87BF-44AE-B828-0B657792DFE7}" dt="2022-04-28T12:52:42.051" v="1865" actId="1035"/>
          <ac:spMkLst>
            <pc:docMk/>
            <pc:sldMk cId="2480849911" sldId="515"/>
            <ac:spMk id="71" creationId="{00000000-0000-0000-0000-000000000000}"/>
          </ac:spMkLst>
        </pc:spChg>
      </pc:sldChg>
      <pc:sldChg chg="add del">
        <pc:chgData name="Ricardo Sérgio Souza e Sousa" userId="b2322a61-6b0f-42d2-a39f-a9a5f08999e4" providerId="ADAL" clId="{F7F79181-87BF-44AE-B828-0B657792DFE7}" dt="2022-04-28T12:53:30.787" v="1876"/>
        <pc:sldMkLst>
          <pc:docMk/>
          <pc:sldMk cId="1483563570" sldId="516"/>
        </pc:sldMkLst>
      </pc:sldChg>
      <pc:sldChg chg="modSp add mod">
        <pc:chgData name="Ricardo Sérgio Souza e Sousa" userId="b2322a61-6b0f-42d2-a39f-a9a5f08999e4" providerId="ADAL" clId="{F7F79181-87BF-44AE-B828-0B657792DFE7}" dt="2022-04-28T13:03:46.238" v="2250" actId="113"/>
        <pc:sldMkLst>
          <pc:docMk/>
          <pc:sldMk cId="1503316673" sldId="516"/>
        </pc:sldMkLst>
        <pc:spChg chg="mod">
          <ac:chgData name="Ricardo Sérgio Souza e Sousa" userId="b2322a61-6b0f-42d2-a39f-a9a5f08999e4" providerId="ADAL" clId="{F7F79181-87BF-44AE-B828-0B657792DFE7}" dt="2022-04-28T13:03:46.238" v="2250" actId="113"/>
          <ac:spMkLst>
            <pc:docMk/>
            <pc:sldMk cId="1503316673" sldId="516"/>
            <ac:spMk id="2" creationId="{00000000-0000-0000-0000-000000000000}"/>
          </ac:spMkLst>
        </pc:spChg>
      </pc:sldChg>
      <pc:sldChg chg="del">
        <pc:chgData name="Ricardo Sérgio Souza e Sousa" userId="b2322a61-6b0f-42d2-a39f-a9a5f08999e4" providerId="ADAL" clId="{F7F79181-87BF-44AE-B828-0B657792DFE7}" dt="2022-04-28T12:00:23.087" v="414" actId="47"/>
        <pc:sldMkLst>
          <pc:docMk/>
          <pc:sldMk cId="3596548809" sldId="516"/>
        </pc:sldMkLst>
      </pc:sldChg>
      <pc:sldChg chg="modSp add mod">
        <pc:chgData name="Ricardo Sérgio Souza e Sousa" userId="b2322a61-6b0f-42d2-a39f-a9a5f08999e4" providerId="ADAL" clId="{F7F79181-87BF-44AE-B828-0B657792DFE7}" dt="2022-04-28T13:52:11.854" v="3769" actId="20577"/>
        <pc:sldMkLst>
          <pc:docMk/>
          <pc:sldMk cId="2026163206" sldId="517"/>
        </pc:sldMkLst>
        <pc:spChg chg="mod">
          <ac:chgData name="Ricardo Sérgio Souza e Sousa" userId="b2322a61-6b0f-42d2-a39f-a9a5f08999e4" providerId="ADAL" clId="{F7F79181-87BF-44AE-B828-0B657792DFE7}" dt="2022-04-28T13:18:19.260" v="2869" actId="1076"/>
          <ac:spMkLst>
            <pc:docMk/>
            <pc:sldMk cId="2026163206" sldId="517"/>
            <ac:spMk id="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3:52:11.854" v="3769" actId="20577"/>
          <ac:spMkLst>
            <pc:docMk/>
            <pc:sldMk cId="2026163206" sldId="517"/>
            <ac:spMk id="3" creationId="{F79062AD-8400-4218-9826-B8BDD63B33BB}"/>
          </ac:spMkLst>
        </pc:spChg>
      </pc:sldChg>
      <pc:sldChg chg="del">
        <pc:chgData name="Ricardo Sérgio Souza e Sousa" userId="b2322a61-6b0f-42d2-a39f-a9a5f08999e4" providerId="ADAL" clId="{F7F79181-87BF-44AE-B828-0B657792DFE7}" dt="2022-04-28T12:00:26.121" v="418" actId="47"/>
        <pc:sldMkLst>
          <pc:docMk/>
          <pc:sldMk cId="3856030827" sldId="517"/>
        </pc:sldMkLst>
      </pc:sldChg>
      <pc:sldChg chg="del">
        <pc:chgData name="Ricardo Sérgio Souza e Sousa" userId="b2322a61-6b0f-42d2-a39f-a9a5f08999e4" providerId="ADAL" clId="{F7F79181-87BF-44AE-B828-0B657792DFE7}" dt="2022-04-28T11:59:48.628" v="373" actId="47"/>
        <pc:sldMkLst>
          <pc:docMk/>
          <pc:sldMk cId="904378504" sldId="518"/>
        </pc:sldMkLst>
      </pc:sldChg>
      <pc:sldChg chg="modSp add mod">
        <pc:chgData name="Ricardo Sérgio Souza e Sousa" userId="b2322a61-6b0f-42d2-a39f-a9a5f08999e4" providerId="ADAL" clId="{F7F79181-87BF-44AE-B828-0B657792DFE7}" dt="2022-04-28T13:22:00.668" v="3090" actId="20577"/>
        <pc:sldMkLst>
          <pc:docMk/>
          <pc:sldMk cId="4132143666" sldId="518"/>
        </pc:sldMkLst>
        <pc:spChg chg="mod">
          <ac:chgData name="Ricardo Sérgio Souza e Sousa" userId="b2322a61-6b0f-42d2-a39f-a9a5f08999e4" providerId="ADAL" clId="{F7F79181-87BF-44AE-B828-0B657792DFE7}" dt="2022-04-28T13:22:00.668" v="3090" actId="20577"/>
          <ac:spMkLst>
            <pc:docMk/>
            <pc:sldMk cId="4132143666" sldId="518"/>
            <ac:spMk id="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3:19:55.954" v="2964" actId="20577"/>
          <ac:spMkLst>
            <pc:docMk/>
            <pc:sldMk cId="4132143666" sldId="518"/>
            <ac:spMk id="3" creationId="{F79062AD-8400-4218-9826-B8BDD63B33BB}"/>
          </ac:spMkLst>
        </pc:spChg>
      </pc:sldChg>
      <pc:sldChg chg="del">
        <pc:chgData name="Ricardo Sérgio Souza e Sousa" userId="b2322a61-6b0f-42d2-a39f-a9a5f08999e4" providerId="ADAL" clId="{F7F79181-87BF-44AE-B828-0B657792DFE7}" dt="2022-04-28T12:00:26.910" v="421" actId="47"/>
        <pc:sldMkLst>
          <pc:docMk/>
          <pc:sldMk cId="544420798" sldId="519"/>
        </pc:sldMkLst>
      </pc:sldChg>
      <pc:sldChg chg="modSp add mod">
        <pc:chgData name="Ricardo Sérgio Souza e Sousa" userId="b2322a61-6b0f-42d2-a39f-a9a5f08999e4" providerId="ADAL" clId="{F7F79181-87BF-44AE-B828-0B657792DFE7}" dt="2022-04-28T13:22:29.113" v="3152" actId="20577"/>
        <pc:sldMkLst>
          <pc:docMk/>
          <pc:sldMk cId="2991636746" sldId="519"/>
        </pc:sldMkLst>
        <pc:spChg chg="mod">
          <ac:chgData name="Ricardo Sérgio Souza e Sousa" userId="b2322a61-6b0f-42d2-a39f-a9a5f08999e4" providerId="ADAL" clId="{F7F79181-87BF-44AE-B828-0B657792DFE7}" dt="2022-04-28T13:22:29.113" v="3152" actId="20577"/>
          <ac:spMkLst>
            <pc:docMk/>
            <pc:sldMk cId="2991636746" sldId="519"/>
            <ac:spMk id="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3:19:52.208" v="2958" actId="20577"/>
          <ac:spMkLst>
            <pc:docMk/>
            <pc:sldMk cId="2991636746" sldId="519"/>
            <ac:spMk id="3" creationId="{F79062AD-8400-4218-9826-B8BDD63B33BB}"/>
          </ac:spMkLst>
        </pc:spChg>
      </pc:sldChg>
      <pc:sldChg chg="modSp add mod">
        <pc:chgData name="Ricardo Sérgio Souza e Sousa" userId="b2322a61-6b0f-42d2-a39f-a9a5f08999e4" providerId="ADAL" clId="{F7F79181-87BF-44AE-B828-0B657792DFE7}" dt="2022-04-28T13:23:47.570" v="3317" actId="1076"/>
        <pc:sldMkLst>
          <pc:docMk/>
          <pc:sldMk cId="2359481339" sldId="520"/>
        </pc:sldMkLst>
        <pc:spChg chg="mod">
          <ac:chgData name="Ricardo Sérgio Souza e Sousa" userId="b2322a61-6b0f-42d2-a39f-a9a5f08999e4" providerId="ADAL" clId="{F7F79181-87BF-44AE-B828-0B657792DFE7}" dt="2022-04-28T13:23:47.570" v="3317" actId="1076"/>
          <ac:spMkLst>
            <pc:docMk/>
            <pc:sldMk cId="2359481339" sldId="520"/>
            <ac:spMk id="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4-28T13:22:56.744" v="3163" actId="20577"/>
          <ac:spMkLst>
            <pc:docMk/>
            <pc:sldMk cId="2359481339" sldId="520"/>
            <ac:spMk id="3" creationId="{F79062AD-8400-4218-9826-B8BDD63B33BB}"/>
          </ac:spMkLst>
        </pc:spChg>
      </pc:sldChg>
      <pc:sldChg chg="modSp add mod">
        <pc:chgData name="Ricardo Sérgio Souza e Sousa" userId="b2322a61-6b0f-42d2-a39f-a9a5f08999e4" providerId="ADAL" clId="{F7F79181-87BF-44AE-B828-0B657792DFE7}" dt="2022-04-28T13:26:23.709" v="3360" actId="20577"/>
        <pc:sldMkLst>
          <pc:docMk/>
          <pc:sldMk cId="1554541207" sldId="521"/>
        </pc:sldMkLst>
        <pc:spChg chg="mod">
          <ac:chgData name="Ricardo Sérgio Souza e Sousa" userId="b2322a61-6b0f-42d2-a39f-a9a5f08999e4" providerId="ADAL" clId="{F7F79181-87BF-44AE-B828-0B657792DFE7}" dt="2022-04-28T13:26:23.709" v="3360" actId="20577"/>
          <ac:spMkLst>
            <pc:docMk/>
            <pc:sldMk cId="1554541207" sldId="521"/>
            <ac:spMk id="2" creationId="{00000000-0000-0000-0000-000000000000}"/>
          </ac:spMkLst>
        </pc:spChg>
      </pc:sldChg>
      <pc:sldChg chg="addSp delSp modSp add mod modNotes">
        <pc:chgData name="Ricardo Sérgio Souza e Sousa" userId="b2322a61-6b0f-42d2-a39f-a9a5f08999e4" providerId="ADAL" clId="{F7F79181-87BF-44AE-B828-0B657792DFE7}" dt="2022-05-13T11:09:32.014" v="7961"/>
        <pc:sldMkLst>
          <pc:docMk/>
          <pc:sldMk cId="0" sldId="522"/>
        </pc:sldMkLst>
        <pc:spChg chg="add mod">
          <ac:chgData name="Ricardo Sérgio Souza e Sousa" userId="b2322a61-6b0f-42d2-a39f-a9a5f08999e4" providerId="ADAL" clId="{F7F79181-87BF-44AE-B828-0B657792DFE7}" dt="2022-04-28T13:35:57.591" v="3504" actId="20577"/>
          <ac:spMkLst>
            <pc:docMk/>
            <pc:sldMk cId="0" sldId="522"/>
            <ac:spMk id="52" creationId="{A3CF0C92-7D52-43DB-952E-9835C5915192}"/>
          </ac:spMkLst>
        </pc:spChg>
        <pc:spChg chg="del mod">
          <ac:chgData name="Ricardo Sérgio Souza e Sousa" userId="b2322a61-6b0f-42d2-a39f-a9a5f08999e4" providerId="ADAL" clId="{F7F79181-87BF-44AE-B828-0B657792DFE7}" dt="2022-04-28T13:35:46.230" v="3483" actId="478"/>
          <ac:spMkLst>
            <pc:docMk/>
            <pc:sldMk cId="0" sldId="522"/>
            <ac:spMk id="4104" creationId="{C0F38FAB-9439-41D6-B230-06479DBA19E1}"/>
          </ac:spMkLst>
        </pc:spChg>
        <pc:spChg chg="mod">
          <ac:chgData name="Ricardo Sérgio Souza e Sousa" userId="b2322a61-6b0f-42d2-a39f-a9a5f08999e4" providerId="ADAL" clId="{F7F79181-87BF-44AE-B828-0B657792DFE7}" dt="2022-04-28T13:47:54.851" v="3738" actId="122"/>
          <ac:spMkLst>
            <pc:docMk/>
            <pc:sldMk cId="0" sldId="522"/>
            <ac:spMk id="4105" creationId="{79AFF72B-13D2-4058-A6FA-9C65EA185A11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4110" creationId="{8E386D1D-1B1B-468B-9C7E-00CD9E21EA3E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4112" creationId="{259AF9FE-2809-442D-86B1-8CF495D660C7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4114" creationId="{9F06223A-4666-47B9-AB98-CFC2E1344734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4116" creationId="{09FDDADF-1FF4-4A57-BBDC-B8C9E6A9DA76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4122" creationId="{2A02078E-D822-4D87-B1DC-CEB84A9E2362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4124" creationId="{8CE5FD98-1CB2-480F-925C-D1A8DD747CEB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4126" creationId="{1625A5CF-02DB-48DB-89B0-893B2FA730F3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4128" creationId="{3A7AFC6D-27D8-40CB-8D4E-CBF139345BD7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4130" creationId="{889A1FB3-9878-49A6-A238-53E3C520C18A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4137" creationId="{0368B64F-A60E-4EE4-8C43-F09B2D147B3F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4139" creationId="{33B75A0B-9666-46B1-B6A0-863637712CFF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4141" creationId="{C3D950E9-C51B-4641-A1B6-3B6F78A13C74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4143" creationId="{CE23E9B4-52E7-4D1F-AD06-8A6FE7B9FA4F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4145" creationId="{DD9B1EE8-8638-4D5C-A238-D57F19A988A3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4147" creationId="{15666EB5-9192-4C6C-9953-534136F969E0}"/>
          </ac:spMkLst>
        </pc:spChg>
        <pc:spChg chg="mod">
          <ac:chgData name="Ricardo Sérgio Souza e Sousa" userId="b2322a61-6b0f-42d2-a39f-a9a5f08999e4" providerId="ADAL" clId="{F7F79181-87BF-44AE-B828-0B657792DFE7}" dt="2022-04-28T13:48:27.980" v="3745" actId="120"/>
          <ac:spMkLst>
            <pc:docMk/>
            <pc:sldMk cId="0" sldId="522"/>
            <ac:spMk id="34870" creationId="{0E0AE7E9-E452-49DC-B479-B8002ECF07A0}"/>
          </ac:spMkLst>
        </pc:spChg>
        <pc:spChg chg="mod">
          <ac:chgData name="Ricardo Sérgio Souza e Sousa" userId="b2322a61-6b0f-42d2-a39f-a9a5f08999e4" providerId="ADAL" clId="{F7F79181-87BF-44AE-B828-0B657792DFE7}" dt="2022-04-28T13:48:27.980" v="3745" actId="120"/>
          <ac:spMkLst>
            <pc:docMk/>
            <pc:sldMk cId="0" sldId="522"/>
            <ac:spMk id="34871" creationId="{4F5AE1AC-6527-41DE-9767-D083A9E581A9}"/>
          </ac:spMkLst>
        </pc:spChg>
        <pc:spChg chg="mod">
          <ac:chgData name="Ricardo Sérgio Souza e Sousa" userId="b2322a61-6b0f-42d2-a39f-a9a5f08999e4" providerId="ADAL" clId="{F7F79181-87BF-44AE-B828-0B657792DFE7}" dt="2022-04-28T13:48:27.980" v="3745" actId="120"/>
          <ac:spMkLst>
            <pc:docMk/>
            <pc:sldMk cId="0" sldId="522"/>
            <ac:spMk id="34872" creationId="{97AEB9D5-7B53-4462-9626-50F7BA84460E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962567" creationId="{F625AF9F-915D-420C-B3B3-A69C223B646D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962573" creationId="{1C16518B-00A7-4FA5-9ADA-1D2D4B77382C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962576" creationId="{3763A738-315F-4FA3-B5D1-ADC36A5AD6C8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962579" creationId="{F81C925C-4940-4B80-8E8E-B758901A2727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962582" creationId="{A6534081-B175-44AF-B5A1-F74DFBEA8D81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962587" creationId="{D8DC0276-E04A-40B4-96E7-BFE46C4C58D3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962593" creationId="{FD81AEFA-80C4-498D-A7AC-F5EC0948B409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962596" creationId="{B38CA05D-2E97-4417-85C5-520E51591FE6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962599" creationId="{94A415D5-8501-4232-9EDD-CA31B3BCB49F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962604" creationId="{72C0B664-082A-4724-86E6-8C2BBD40FA68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962610" creationId="{632FCBE2-8843-4ADA-B64D-A82F078033F6}"/>
          </ac:spMkLst>
        </pc:spChg>
        <pc:spChg chg="mod">
          <ac:chgData name="Ricardo Sérgio Souza e Sousa" userId="b2322a61-6b0f-42d2-a39f-a9a5f08999e4" providerId="ADAL" clId="{F7F79181-87BF-44AE-B828-0B657792DFE7}" dt="2022-04-28T13:34:47.860" v="3481" actId="1036"/>
          <ac:spMkLst>
            <pc:docMk/>
            <pc:sldMk cId="0" sldId="522"/>
            <ac:spMk id="962613" creationId="{A2C3BBD6-375B-4DD6-A25F-510CB25A5ABA}"/>
          </ac:spMkLst>
        </pc:spChg>
        <pc:grpChg chg="mod">
          <ac:chgData name="Ricardo Sérgio Souza e Sousa" userId="b2322a61-6b0f-42d2-a39f-a9a5f08999e4" providerId="ADAL" clId="{F7F79181-87BF-44AE-B828-0B657792DFE7}" dt="2022-04-28T13:34:47.860" v="3481" actId="1036"/>
          <ac:grpSpMkLst>
            <pc:docMk/>
            <pc:sldMk cId="0" sldId="522"/>
            <ac:grpSpMk id="4098" creationId="{FBABA79B-2F55-48D2-8A09-278102EB50AF}"/>
          </ac:grpSpMkLst>
        </pc:grpChg>
        <pc:grpChg chg="mod">
          <ac:chgData name="Ricardo Sérgio Souza e Sousa" userId="b2322a61-6b0f-42d2-a39f-a9a5f08999e4" providerId="ADAL" clId="{F7F79181-87BF-44AE-B828-0B657792DFE7}" dt="2022-04-28T13:34:47.860" v="3481" actId="1036"/>
          <ac:grpSpMkLst>
            <pc:docMk/>
            <pc:sldMk cId="0" sldId="522"/>
            <ac:grpSpMk id="4099" creationId="{6EF6F497-58B0-40A0-BE31-96460BD327DE}"/>
          </ac:grpSpMkLst>
        </pc:grpChg>
        <pc:grpChg chg="mod">
          <ac:chgData name="Ricardo Sérgio Souza e Sousa" userId="b2322a61-6b0f-42d2-a39f-a9a5f08999e4" providerId="ADAL" clId="{F7F79181-87BF-44AE-B828-0B657792DFE7}" dt="2022-04-28T13:34:47.860" v="3481" actId="1036"/>
          <ac:grpSpMkLst>
            <pc:docMk/>
            <pc:sldMk cId="0" sldId="522"/>
            <ac:grpSpMk id="4100" creationId="{1056ABFD-1E37-4E28-AC47-1F1E1966BA9A}"/>
          </ac:grpSpMkLst>
        </pc:grpChg>
        <pc:grpChg chg="mod">
          <ac:chgData name="Ricardo Sérgio Souza e Sousa" userId="b2322a61-6b0f-42d2-a39f-a9a5f08999e4" providerId="ADAL" clId="{F7F79181-87BF-44AE-B828-0B657792DFE7}" dt="2022-04-28T13:34:47.860" v="3481" actId="1036"/>
          <ac:grpSpMkLst>
            <pc:docMk/>
            <pc:sldMk cId="0" sldId="522"/>
            <ac:grpSpMk id="4106" creationId="{3F75BBF8-299D-4FD0-947C-94D41C598866}"/>
          </ac:grpSpMkLst>
        </pc:grpChg>
        <pc:grpChg chg="mod">
          <ac:chgData name="Ricardo Sérgio Souza e Sousa" userId="b2322a61-6b0f-42d2-a39f-a9a5f08999e4" providerId="ADAL" clId="{F7F79181-87BF-44AE-B828-0B657792DFE7}" dt="2022-04-28T13:34:47.860" v="3481" actId="1036"/>
          <ac:grpSpMkLst>
            <pc:docMk/>
            <pc:sldMk cId="0" sldId="522"/>
            <ac:grpSpMk id="4107" creationId="{C4254003-F49D-4833-8E2B-9ABFD9E8DA38}"/>
          </ac:grpSpMkLst>
        </pc:grpChg>
        <pc:grpChg chg="mod">
          <ac:chgData name="Ricardo Sérgio Souza e Sousa" userId="b2322a61-6b0f-42d2-a39f-a9a5f08999e4" providerId="ADAL" clId="{F7F79181-87BF-44AE-B828-0B657792DFE7}" dt="2022-04-28T13:34:47.860" v="3481" actId="1036"/>
          <ac:grpSpMkLst>
            <pc:docMk/>
            <pc:sldMk cId="0" sldId="522"/>
            <ac:grpSpMk id="4108" creationId="{1B692771-5341-4B50-A349-CBE50ED75C2C}"/>
          </ac:grpSpMkLst>
        </pc:grpChg>
        <pc:grpChg chg="mod">
          <ac:chgData name="Ricardo Sérgio Souza e Sousa" userId="b2322a61-6b0f-42d2-a39f-a9a5f08999e4" providerId="ADAL" clId="{F7F79181-87BF-44AE-B828-0B657792DFE7}" dt="2022-04-28T13:34:47.860" v="3481" actId="1036"/>
          <ac:grpSpMkLst>
            <pc:docMk/>
            <pc:sldMk cId="0" sldId="522"/>
            <ac:grpSpMk id="4109" creationId="{E0FF4142-58EB-48CB-9D7C-2534AD05CD6C}"/>
          </ac:grpSpMkLst>
        </pc:grpChg>
        <pc:grpChg chg="mod">
          <ac:chgData name="Ricardo Sérgio Souza e Sousa" userId="b2322a61-6b0f-42d2-a39f-a9a5f08999e4" providerId="ADAL" clId="{F7F79181-87BF-44AE-B828-0B657792DFE7}" dt="2022-04-28T13:34:47.860" v="3481" actId="1036"/>
          <ac:grpSpMkLst>
            <pc:docMk/>
            <pc:sldMk cId="0" sldId="522"/>
            <ac:grpSpMk id="4117" creationId="{7C926195-0505-4130-9BC0-2340E6D475FA}"/>
          </ac:grpSpMkLst>
        </pc:grpChg>
        <pc:grpChg chg="mod">
          <ac:chgData name="Ricardo Sérgio Souza e Sousa" userId="b2322a61-6b0f-42d2-a39f-a9a5f08999e4" providerId="ADAL" clId="{F7F79181-87BF-44AE-B828-0B657792DFE7}" dt="2022-04-28T13:34:47.860" v="3481" actId="1036"/>
          <ac:grpSpMkLst>
            <pc:docMk/>
            <pc:sldMk cId="0" sldId="522"/>
            <ac:grpSpMk id="4118" creationId="{E38D4EE6-AEA8-4889-A409-457EC4819635}"/>
          </ac:grpSpMkLst>
        </pc:grpChg>
        <pc:grpChg chg="mod">
          <ac:chgData name="Ricardo Sérgio Souza e Sousa" userId="b2322a61-6b0f-42d2-a39f-a9a5f08999e4" providerId="ADAL" clId="{F7F79181-87BF-44AE-B828-0B657792DFE7}" dt="2022-04-28T13:34:47.860" v="3481" actId="1036"/>
          <ac:grpSpMkLst>
            <pc:docMk/>
            <pc:sldMk cId="0" sldId="522"/>
            <ac:grpSpMk id="4119" creationId="{7C24E70B-96F3-4054-8477-8413D6C9C9D3}"/>
          </ac:grpSpMkLst>
        </pc:grpChg>
        <pc:grpChg chg="mod">
          <ac:chgData name="Ricardo Sérgio Souza e Sousa" userId="b2322a61-6b0f-42d2-a39f-a9a5f08999e4" providerId="ADAL" clId="{F7F79181-87BF-44AE-B828-0B657792DFE7}" dt="2022-04-28T13:34:47.860" v="3481" actId="1036"/>
          <ac:grpSpMkLst>
            <pc:docMk/>
            <pc:sldMk cId="0" sldId="522"/>
            <ac:grpSpMk id="4120" creationId="{9217082F-4AF7-4FAC-8648-412CCFCB7D2C}"/>
          </ac:grpSpMkLst>
        </pc:grpChg>
        <pc:grpChg chg="mod">
          <ac:chgData name="Ricardo Sérgio Souza e Sousa" userId="b2322a61-6b0f-42d2-a39f-a9a5f08999e4" providerId="ADAL" clId="{F7F79181-87BF-44AE-B828-0B657792DFE7}" dt="2022-04-28T13:34:47.860" v="3481" actId="1036"/>
          <ac:grpSpMkLst>
            <pc:docMk/>
            <pc:sldMk cId="0" sldId="522"/>
            <ac:grpSpMk id="4121" creationId="{102D6DC1-52AD-4644-A41C-BFBD2A151045}"/>
          </ac:grpSpMkLst>
        </pc:grpChg>
        <pc:grpChg chg="mod">
          <ac:chgData name="Ricardo Sérgio Souza e Sousa" userId="b2322a61-6b0f-42d2-a39f-a9a5f08999e4" providerId="ADAL" clId="{F7F79181-87BF-44AE-B828-0B657792DFE7}" dt="2022-04-28T13:34:47.860" v="3481" actId="1036"/>
          <ac:grpSpMkLst>
            <pc:docMk/>
            <pc:sldMk cId="0" sldId="522"/>
            <ac:grpSpMk id="4131" creationId="{680BEA62-CEB8-498A-B360-A4819ECB1054}"/>
          </ac:grpSpMkLst>
        </pc:grpChg>
        <pc:grpChg chg="mod">
          <ac:chgData name="Ricardo Sérgio Souza e Sousa" userId="b2322a61-6b0f-42d2-a39f-a9a5f08999e4" providerId="ADAL" clId="{F7F79181-87BF-44AE-B828-0B657792DFE7}" dt="2022-04-28T13:34:47.860" v="3481" actId="1036"/>
          <ac:grpSpMkLst>
            <pc:docMk/>
            <pc:sldMk cId="0" sldId="522"/>
            <ac:grpSpMk id="4132" creationId="{033E0EF5-0517-4FDE-A5B0-04B122D677CE}"/>
          </ac:grpSpMkLst>
        </pc:grpChg>
        <pc:grpChg chg="mod">
          <ac:chgData name="Ricardo Sérgio Souza e Sousa" userId="b2322a61-6b0f-42d2-a39f-a9a5f08999e4" providerId="ADAL" clId="{F7F79181-87BF-44AE-B828-0B657792DFE7}" dt="2022-04-28T13:34:47.860" v="3481" actId="1036"/>
          <ac:grpSpMkLst>
            <pc:docMk/>
            <pc:sldMk cId="0" sldId="522"/>
            <ac:grpSpMk id="4133" creationId="{5D92BBA3-549C-4FE8-8506-88B71348784F}"/>
          </ac:grpSpMkLst>
        </pc:grpChg>
        <pc:grpChg chg="mod">
          <ac:chgData name="Ricardo Sérgio Souza e Sousa" userId="b2322a61-6b0f-42d2-a39f-a9a5f08999e4" providerId="ADAL" clId="{F7F79181-87BF-44AE-B828-0B657792DFE7}" dt="2022-04-28T13:34:47.860" v="3481" actId="1036"/>
          <ac:grpSpMkLst>
            <pc:docMk/>
            <pc:sldMk cId="0" sldId="522"/>
            <ac:grpSpMk id="4134" creationId="{CA7928B1-A582-4591-B0F4-474797EAE2D2}"/>
          </ac:grpSpMkLst>
        </pc:grpChg>
        <pc:grpChg chg="mod">
          <ac:chgData name="Ricardo Sérgio Souza e Sousa" userId="b2322a61-6b0f-42d2-a39f-a9a5f08999e4" providerId="ADAL" clId="{F7F79181-87BF-44AE-B828-0B657792DFE7}" dt="2022-04-28T13:34:47.860" v="3481" actId="1036"/>
          <ac:grpSpMkLst>
            <pc:docMk/>
            <pc:sldMk cId="0" sldId="522"/>
            <ac:grpSpMk id="4135" creationId="{36E422E4-AA2D-4416-AC84-5426E84063E0}"/>
          </ac:grpSpMkLst>
        </pc:grpChg>
        <pc:grpChg chg="mod">
          <ac:chgData name="Ricardo Sérgio Souza e Sousa" userId="b2322a61-6b0f-42d2-a39f-a9a5f08999e4" providerId="ADAL" clId="{F7F79181-87BF-44AE-B828-0B657792DFE7}" dt="2022-04-28T13:34:47.860" v="3481" actId="1036"/>
          <ac:grpSpMkLst>
            <pc:docMk/>
            <pc:sldMk cId="0" sldId="522"/>
            <ac:grpSpMk id="4136" creationId="{DD92B2D0-F265-4DEF-9050-6587708DE2A1}"/>
          </ac:grpSpMkLst>
        </pc:grpChg>
      </pc:sldChg>
      <pc:sldChg chg="addSp delSp modSp add mod">
        <pc:chgData name="Ricardo Sérgio Souza e Sousa" userId="b2322a61-6b0f-42d2-a39f-a9a5f08999e4" providerId="ADAL" clId="{F7F79181-87BF-44AE-B828-0B657792DFE7}" dt="2022-04-28T13:48:48.646" v="3750" actId="20577"/>
        <pc:sldMkLst>
          <pc:docMk/>
          <pc:sldMk cId="0" sldId="523"/>
        </pc:sldMkLst>
        <pc:spChg chg="add mod">
          <ac:chgData name="Ricardo Sérgio Souza e Sousa" userId="b2322a61-6b0f-42d2-a39f-a9a5f08999e4" providerId="ADAL" clId="{F7F79181-87BF-44AE-B828-0B657792DFE7}" dt="2022-04-28T13:43:55.459" v="3586" actId="20577"/>
          <ac:spMkLst>
            <pc:docMk/>
            <pc:sldMk cId="0" sldId="523"/>
            <ac:spMk id="9" creationId="{95430EBF-3E59-4D40-928F-0C333B81CC46}"/>
          </ac:spMkLst>
        </pc:spChg>
        <pc:spChg chg="mod">
          <ac:chgData name="Ricardo Sérgio Souza e Sousa" userId="b2322a61-6b0f-42d2-a39f-a9a5f08999e4" providerId="ADAL" clId="{F7F79181-87BF-44AE-B828-0B657792DFE7}" dt="2022-04-28T13:48:48.646" v="3750" actId="20577"/>
          <ac:spMkLst>
            <pc:docMk/>
            <pc:sldMk cId="0" sldId="523"/>
            <ac:spMk id="6146" creationId="{D09FE7F9-46DF-4C6C-A395-297C6B73400F}"/>
          </ac:spMkLst>
        </pc:spChg>
        <pc:spChg chg="del">
          <ac:chgData name="Ricardo Sérgio Souza e Sousa" userId="b2322a61-6b0f-42d2-a39f-a9a5f08999e4" providerId="ADAL" clId="{F7F79181-87BF-44AE-B828-0B657792DFE7}" dt="2022-04-28T13:43:47.239" v="3568" actId="478"/>
          <ac:spMkLst>
            <pc:docMk/>
            <pc:sldMk cId="0" sldId="523"/>
            <ac:spMk id="6147" creationId="{EAC337ED-CC0C-474F-872E-7179DC48B1B2}"/>
          </ac:spMkLst>
        </pc:spChg>
      </pc:sldChg>
      <pc:sldChg chg="add del">
        <pc:chgData name="Ricardo Sérgio Souza e Sousa" userId="b2322a61-6b0f-42d2-a39f-a9a5f08999e4" providerId="ADAL" clId="{F7F79181-87BF-44AE-B828-0B657792DFE7}" dt="2022-04-28T13:45:45.317" v="3703" actId="47"/>
        <pc:sldMkLst>
          <pc:docMk/>
          <pc:sldMk cId="0" sldId="524"/>
        </pc:sldMkLst>
      </pc:sldChg>
      <pc:sldChg chg="add del">
        <pc:chgData name="Ricardo Sérgio Souza e Sousa" userId="b2322a61-6b0f-42d2-a39f-a9a5f08999e4" providerId="ADAL" clId="{F7F79181-87BF-44AE-B828-0B657792DFE7}" dt="2022-04-28T13:46:03.258" v="3705" actId="47"/>
        <pc:sldMkLst>
          <pc:docMk/>
          <pc:sldMk cId="0" sldId="525"/>
        </pc:sldMkLst>
      </pc:sldChg>
      <pc:sldChg chg="add del">
        <pc:chgData name="Ricardo Sérgio Souza e Sousa" userId="b2322a61-6b0f-42d2-a39f-a9a5f08999e4" providerId="ADAL" clId="{F7F79181-87BF-44AE-B828-0B657792DFE7}" dt="2022-04-28T13:46:19.118" v="3706" actId="47"/>
        <pc:sldMkLst>
          <pc:docMk/>
          <pc:sldMk cId="0" sldId="526"/>
        </pc:sldMkLst>
      </pc:sldChg>
      <pc:sldChg chg="add">
        <pc:chgData name="Ricardo Sérgio Souza e Sousa" userId="b2322a61-6b0f-42d2-a39f-a9a5f08999e4" providerId="ADAL" clId="{F7F79181-87BF-44AE-B828-0B657792DFE7}" dt="2022-05-13T11:06:12.704" v="7940"/>
        <pc:sldMkLst>
          <pc:docMk/>
          <pc:sldMk cId="4111093096" sldId="688"/>
        </pc:sldMkLst>
      </pc:sldChg>
      <pc:sldChg chg="addSp modSp add del mod ord">
        <pc:chgData name="Ricardo Sérgio Souza e Sousa" userId="b2322a61-6b0f-42d2-a39f-a9a5f08999e4" providerId="ADAL" clId="{F7F79181-87BF-44AE-B828-0B657792DFE7}" dt="2022-05-13T11:09:32.014" v="7960" actId="47"/>
        <pc:sldMkLst>
          <pc:docMk/>
          <pc:sldMk cId="580977709" sldId="759"/>
        </pc:sldMkLst>
        <pc:spChg chg="mod">
          <ac:chgData name="Ricardo Sérgio Souza e Sousa" userId="b2322a61-6b0f-42d2-a39f-a9a5f08999e4" providerId="ADAL" clId="{F7F79181-87BF-44AE-B828-0B657792DFE7}" dt="2022-05-02T10:36:38.563" v="3821" actId="403"/>
          <ac:spMkLst>
            <pc:docMk/>
            <pc:sldMk cId="580977709" sldId="759"/>
            <ac:spMk id="3" creationId="{4153750E-0B1F-4119-98B6-88C275219E57}"/>
          </ac:spMkLst>
        </pc:spChg>
        <pc:spChg chg="add mod">
          <ac:chgData name="Ricardo Sérgio Souza e Sousa" userId="b2322a61-6b0f-42d2-a39f-a9a5f08999e4" providerId="ADAL" clId="{F7F79181-87BF-44AE-B828-0B657792DFE7}" dt="2022-05-02T10:37:42.110" v="3854" actId="14100"/>
          <ac:spMkLst>
            <pc:docMk/>
            <pc:sldMk cId="580977709" sldId="759"/>
            <ac:spMk id="6" creationId="{E4B142A4-2855-F91A-CEA3-D6E614CE3E7B}"/>
          </ac:spMkLst>
        </pc:spChg>
        <pc:spChg chg="mod">
          <ac:chgData name="Ricardo Sérgio Souza e Sousa" userId="b2322a61-6b0f-42d2-a39f-a9a5f08999e4" providerId="ADAL" clId="{F7F79181-87BF-44AE-B828-0B657792DFE7}" dt="2022-05-02T10:37:32.468" v="3846" actId="14100"/>
          <ac:spMkLst>
            <pc:docMk/>
            <pc:sldMk cId="580977709" sldId="759"/>
            <ac:spMk id="7" creationId="{849190FB-0798-4789-B120-29633795CA75}"/>
          </ac:spMkLst>
        </pc:spChg>
        <pc:spChg chg="add mod">
          <ac:chgData name="Ricardo Sérgio Souza e Sousa" userId="b2322a61-6b0f-42d2-a39f-a9a5f08999e4" providerId="ADAL" clId="{F7F79181-87BF-44AE-B828-0B657792DFE7}" dt="2022-05-02T10:37:18.437" v="3832" actId="14100"/>
          <ac:spMkLst>
            <pc:docMk/>
            <pc:sldMk cId="580977709" sldId="759"/>
            <ac:spMk id="8" creationId="{E633016A-4F9C-B704-458D-03A6D6914B75}"/>
          </ac:spMkLst>
        </pc:spChg>
        <pc:spChg chg="add mod">
          <ac:chgData name="Ricardo Sérgio Souza e Sousa" userId="b2322a61-6b0f-42d2-a39f-a9a5f08999e4" providerId="ADAL" clId="{F7F79181-87BF-44AE-B828-0B657792DFE7}" dt="2022-05-02T10:36:54.124" v="3829" actId="20577"/>
          <ac:spMkLst>
            <pc:docMk/>
            <pc:sldMk cId="580977709" sldId="759"/>
            <ac:spMk id="9" creationId="{4749C15A-6927-656D-97B2-7CB21F5D629D}"/>
          </ac:spMkLst>
        </pc:spChg>
        <pc:picChg chg="mod">
          <ac:chgData name="Ricardo Sérgio Souza e Sousa" userId="b2322a61-6b0f-42d2-a39f-a9a5f08999e4" providerId="ADAL" clId="{F7F79181-87BF-44AE-B828-0B657792DFE7}" dt="2022-05-02T10:36:10.470" v="3788" actId="1076"/>
          <ac:picMkLst>
            <pc:docMk/>
            <pc:sldMk cId="580977709" sldId="759"/>
            <ac:picMk id="2" creationId="{EF82E2B4-BCE3-4F3B-9E4B-6845ADF5716A}"/>
          </ac:picMkLst>
        </pc:picChg>
        <pc:picChg chg="mod">
          <ac:chgData name="Ricardo Sérgio Souza e Sousa" userId="b2322a61-6b0f-42d2-a39f-a9a5f08999e4" providerId="ADAL" clId="{F7F79181-87BF-44AE-B828-0B657792DFE7}" dt="2022-05-02T10:36:15.027" v="3790" actId="1076"/>
          <ac:picMkLst>
            <pc:docMk/>
            <pc:sldMk cId="580977709" sldId="759"/>
            <ac:picMk id="4" creationId="{6971E02A-2EBB-41BF-97F7-C5AFAC632D48}"/>
          </ac:picMkLst>
        </pc:picChg>
      </pc:sldChg>
      <pc:sldChg chg="modSp add mod ord">
        <pc:chgData name="Ricardo Sérgio Souza e Sousa" userId="b2322a61-6b0f-42d2-a39f-a9a5f08999e4" providerId="ADAL" clId="{F7F79181-87BF-44AE-B828-0B657792DFE7}" dt="2022-05-02T11:11:24.941" v="4146" actId="14100"/>
        <pc:sldMkLst>
          <pc:docMk/>
          <pc:sldMk cId="3753665013" sldId="760"/>
        </pc:sldMkLst>
        <pc:spChg chg="mod">
          <ac:chgData name="Ricardo Sérgio Souza e Sousa" userId="b2322a61-6b0f-42d2-a39f-a9a5f08999e4" providerId="ADAL" clId="{F7F79181-87BF-44AE-B828-0B657792DFE7}" dt="2022-05-02T11:11:24.941" v="4146" actId="14100"/>
          <ac:spMkLst>
            <pc:docMk/>
            <pc:sldMk cId="3753665013" sldId="760"/>
            <ac:spMk id="2" creationId="{00000000-0000-0000-0000-000000000000}"/>
          </ac:spMkLst>
        </pc:spChg>
      </pc:sldChg>
      <pc:sldChg chg="modSp add mod ord">
        <pc:chgData name="Ricardo Sérgio Souza e Sousa" userId="b2322a61-6b0f-42d2-a39f-a9a5f08999e4" providerId="ADAL" clId="{F7F79181-87BF-44AE-B828-0B657792DFE7}" dt="2022-05-13T11:04:53.635" v="7935" actId="20577"/>
        <pc:sldMkLst>
          <pc:docMk/>
          <pc:sldMk cId="4024457464" sldId="761"/>
        </pc:sldMkLst>
        <pc:spChg chg="mod">
          <ac:chgData name="Ricardo Sérgio Souza e Sousa" userId="b2322a61-6b0f-42d2-a39f-a9a5f08999e4" providerId="ADAL" clId="{F7F79181-87BF-44AE-B828-0B657792DFE7}" dt="2022-05-13T11:04:53.635" v="7935" actId="20577"/>
          <ac:spMkLst>
            <pc:docMk/>
            <pc:sldMk cId="4024457464" sldId="761"/>
            <ac:spMk id="2" creationId="{00000000-0000-0000-0000-000000000000}"/>
          </ac:spMkLst>
        </pc:spChg>
      </pc:sldChg>
      <pc:sldChg chg="modSp add mod">
        <pc:chgData name="Ricardo Sérgio Souza e Sousa" userId="b2322a61-6b0f-42d2-a39f-a9a5f08999e4" providerId="ADAL" clId="{F7F79181-87BF-44AE-B828-0B657792DFE7}" dt="2022-05-17T14:25:12.673" v="8997" actId="20577"/>
        <pc:sldMkLst>
          <pc:docMk/>
          <pc:sldMk cId="781821362" sldId="762"/>
        </pc:sldMkLst>
        <pc:spChg chg="mod">
          <ac:chgData name="Ricardo Sérgio Souza e Sousa" userId="b2322a61-6b0f-42d2-a39f-a9a5f08999e4" providerId="ADAL" clId="{F7F79181-87BF-44AE-B828-0B657792DFE7}" dt="2022-05-17T14:25:12.673" v="8997" actId="20577"/>
          <ac:spMkLst>
            <pc:docMk/>
            <pc:sldMk cId="781821362" sldId="762"/>
            <ac:spMk id="2" creationId="{00000000-0000-0000-0000-000000000000}"/>
          </ac:spMkLst>
        </pc:spChg>
      </pc:sldChg>
      <pc:sldChg chg="modSp add mod">
        <pc:chgData name="Ricardo Sérgio Souza e Sousa" userId="b2322a61-6b0f-42d2-a39f-a9a5f08999e4" providerId="ADAL" clId="{F7F79181-87BF-44AE-B828-0B657792DFE7}" dt="2022-05-17T15:40:48.184" v="9558" actId="21"/>
        <pc:sldMkLst>
          <pc:docMk/>
          <pc:sldMk cId="765660171" sldId="763"/>
        </pc:sldMkLst>
        <pc:spChg chg="mod">
          <ac:chgData name="Ricardo Sérgio Souza e Sousa" userId="b2322a61-6b0f-42d2-a39f-a9a5f08999e4" providerId="ADAL" clId="{F7F79181-87BF-44AE-B828-0B657792DFE7}" dt="2022-05-17T15:40:48.184" v="9558" actId="21"/>
          <ac:spMkLst>
            <pc:docMk/>
            <pc:sldMk cId="765660171" sldId="763"/>
            <ac:spMk id="2" creationId="{00000000-0000-0000-0000-000000000000}"/>
          </ac:spMkLst>
        </pc:spChg>
      </pc:sldChg>
      <pc:sldChg chg="modSp add del mod">
        <pc:chgData name="Ricardo Sérgio Souza e Sousa" userId="b2322a61-6b0f-42d2-a39f-a9a5f08999e4" providerId="ADAL" clId="{F7F79181-87BF-44AE-B828-0B657792DFE7}" dt="2022-05-17T17:56:43.213" v="9934"/>
        <pc:sldMkLst>
          <pc:docMk/>
          <pc:sldMk cId="3966786805" sldId="764"/>
        </pc:sldMkLst>
        <pc:spChg chg="mod">
          <ac:chgData name="Ricardo Sérgio Souza e Sousa" userId="b2322a61-6b0f-42d2-a39f-a9a5f08999e4" providerId="ADAL" clId="{F7F79181-87BF-44AE-B828-0B657792DFE7}" dt="2022-05-17T17:56:43.213" v="9934"/>
          <ac:spMkLst>
            <pc:docMk/>
            <pc:sldMk cId="3966786805" sldId="764"/>
            <ac:spMk id="2" creationId="{00000000-0000-0000-0000-000000000000}"/>
          </ac:spMkLst>
        </pc:spChg>
      </pc:sldChg>
      <pc:sldChg chg="modSp add del mod ord">
        <pc:chgData name="Ricardo Sérgio Souza e Sousa" userId="b2322a61-6b0f-42d2-a39f-a9a5f08999e4" providerId="ADAL" clId="{F7F79181-87BF-44AE-B828-0B657792DFE7}" dt="2022-05-17T17:57:04.988" v="9935"/>
        <pc:sldMkLst>
          <pc:docMk/>
          <pc:sldMk cId="191353228" sldId="765"/>
        </pc:sldMkLst>
        <pc:spChg chg="mod">
          <ac:chgData name="Ricardo Sérgio Souza e Sousa" userId="b2322a61-6b0f-42d2-a39f-a9a5f08999e4" providerId="ADAL" clId="{F7F79181-87BF-44AE-B828-0B657792DFE7}" dt="2022-05-17T17:57:04.988" v="9935"/>
          <ac:spMkLst>
            <pc:docMk/>
            <pc:sldMk cId="191353228" sldId="765"/>
            <ac:spMk id="2" creationId="{00000000-0000-0000-0000-000000000000}"/>
          </ac:spMkLst>
        </pc:spChg>
      </pc:sldChg>
      <pc:sldChg chg="modSp add del mod">
        <pc:chgData name="Ricardo Sérgio Souza e Sousa" userId="b2322a61-6b0f-42d2-a39f-a9a5f08999e4" providerId="ADAL" clId="{F7F79181-87BF-44AE-B828-0B657792DFE7}" dt="2022-05-17T17:57:11.253" v="9936"/>
        <pc:sldMkLst>
          <pc:docMk/>
          <pc:sldMk cId="2110046002" sldId="766"/>
        </pc:sldMkLst>
        <pc:spChg chg="mod">
          <ac:chgData name="Ricardo Sérgio Souza e Sousa" userId="b2322a61-6b0f-42d2-a39f-a9a5f08999e4" providerId="ADAL" clId="{F7F79181-87BF-44AE-B828-0B657792DFE7}" dt="2022-05-17T17:57:11.253" v="9936"/>
          <ac:spMkLst>
            <pc:docMk/>
            <pc:sldMk cId="2110046002" sldId="766"/>
            <ac:spMk id="2" creationId="{00000000-0000-0000-0000-000000000000}"/>
          </ac:spMkLst>
        </pc:spChg>
      </pc:sldChg>
      <pc:sldChg chg="modSp add del mod">
        <pc:chgData name="Ricardo Sérgio Souza e Sousa" userId="b2322a61-6b0f-42d2-a39f-a9a5f08999e4" providerId="ADAL" clId="{F7F79181-87BF-44AE-B828-0B657792DFE7}" dt="2022-05-17T17:57:15.053" v="9937"/>
        <pc:sldMkLst>
          <pc:docMk/>
          <pc:sldMk cId="3309384338" sldId="767"/>
        </pc:sldMkLst>
        <pc:spChg chg="mod">
          <ac:chgData name="Ricardo Sérgio Souza e Sousa" userId="b2322a61-6b0f-42d2-a39f-a9a5f08999e4" providerId="ADAL" clId="{F7F79181-87BF-44AE-B828-0B657792DFE7}" dt="2022-05-17T17:57:15.053" v="9937"/>
          <ac:spMkLst>
            <pc:docMk/>
            <pc:sldMk cId="3309384338" sldId="767"/>
            <ac:spMk id="2" creationId="{00000000-0000-0000-0000-000000000000}"/>
          </ac:spMkLst>
        </pc:spChg>
      </pc:sldChg>
      <pc:sldChg chg="modSp add del mod">
        <pc:chgData name="Ricardo Sérgio Souza e Sousa" userId="b2322a61-6b0f-42d2-a39f-a9a5f08999e4" providerId="ADAL" clId="{F7F79181-87BF-44AE-B828-0B657792DFE7}" dt="2022-05-17T17:57:19.543" v="9938"/>
        <pc:sldMkLst>
          <pc:docMk/>
          <pc:sldMk cId="3817352915" sldId="768"/>
        </pc:sldMkLst>
        <pc:spChg chg="mod">
          <ac:chgData name="Ricardo Sérgio Souza e Sousa" userId="b2322a61-6b0f-42d2-a39f-a9a5f08999e4" providerId="ADAL" clId="{F7F79181-87BF-44AE-B828-0B657792DFE7}" dt="2022-05-17T17:57:19.543" v="9938"/>
          <ac:spMkLst>
            <pc:docMk/>
            <pc:sldMk cId="3817352915" sldId="768"/>
            <ac:spMk id="2" creationId="{00000000-0000-0000-0000-000000000000}"/>
          </ac:spMkLst>
        </pc:spChg>
      </pc:sldChg>
      <pc:sldChg chg="modSp add del mod">
        <pc:chgData name="Ricardo Sérgio Souza e Sousa" userId="b2322a61-6b0f-42d2-a39f-a9a5f08999e4" providerId="ADAL" clId="{F7F79181-87BF-44AE-B828-0B657792DFE7}" dt="2022-05-17T17:57:24.995" v="9939"/>
        <pc:sldMkLst>
          <pc:docMk/>
          <pc:sldMk cId="3959300782" sldId="769"/>
        </pc:sldMkLst>
        <pc:spChg chg="mod">
          <ac:chgData name="Ricardo Sérgio Souza e Sousa" userId="b2322a61-6b0f-42d2-a39f-a9a5f08999e4" providerId="ADAL" clId="{F7F79181-87BF-44AE-B828-0B657792DFE7}" dt="2022-05-17T17:57:24.995" v="9939"/>
          <ac:spMkLst>
            <pc:docMk/>
            <pc:sldMk cId="3959300782" sldId="769"/>
            <ac:spMk id="2" creationId="{00000000-0000-0000-0000-000000000000}"/>
          </ac:spMkLst>
        </pc:spChg>
      </pc:sldChg>
      <pc:sldChg chg="modSp add mod">
        <pc:chgData name="Ricardo Sérgio Souza e Sousa" userId="b2322a61-6b0f-42d2-a39f-a9a5f08999e4" providerId="ADAL" clId="{F7F79181-87BF-44AE-B828-0B657792DFE7}" dt="2022-05-02T11:30:52.046" v="4375" actId="20577"/>
        <pc:sldMkLst>
          <pc:docMk/>
          <pc:sldMk cId="128681420" sldId="770"/>
        </pc:sldMkLst>
        <pc:spChg chg="mod">
          <ac:chgData name="Ricardo Sérgio Souza e Sousa" userId="b2322a61-6b0f-42d2-a39f-a9a5f08999e4" providerId="ADAL" clId="{F7F79181-87BF-44AE-B828-0B657792DFE7}" dt="2022-05-02T11:30:52.046" v="4375" actId="20577"/>
          <ac:spMkLst>
            <pc:docMk/>
            <pc:sldMk cId="128681420" sldId="770"/>
            <ac:spMk id="2" creationId="{00000000-0000-0000-0000-000000000000}"/>
          </ac:spMkLst>
        </pc:spChg>
      </pc:sldChg>
      <pc:sldChg chg="addSp delSp modSp add del mod">
        <pc:chgData name="Ricardo Sérgio Souza e Sousa" userId="b2322a61-6b0f-42d2-a39f-a9a5f08999e4" providerId="ADAL" clId="{F7F79181-87BF-44AE-B828-0B657792DFE7}" dt="2022-05-16T18:29:51.080" v="8284" actId="1076"/>
        <pc:sldMkLst>
          <pc:docMk/>
          <pc:sldMk cId="3701024407" sldId="771"/>
        </pc:sldMkLst>
        <pc:spChg chg="add mod">
          <ac:chgData name="Ricardo Sérgio Souza e Sousa" userId="b2322a61-6b0f-42d2-a39f-a9a5f08999e4" providerId="ADAL" clId="{F7F79181-87BF-44AE-B828-0B657792DFE7}" dt="2022-05-02T14:55:33.953" v="6602" actId="1036"/>
          <ac:spMkLst>
            <pc:docMk/>
            <pc:sldMk cId="3701024407" sldId="771"/>
            <ac:spMk id="2" creationId="{02D33547-B2C9-2587-9DFD-F2BE78F519E1}"/>
          </ac:spMkLst>
        </pc:spChg>
        <pc:spChg chg="add mod">
          <ac:chgData name="Ricardo Sérgio Souza e Sousa" userId="b2322a61-6b0f-42d2-a39f-a9a5f08999e4" providerId="ADAL" clId="{F7F79181-87BF-44AE-B828-0B657792DFE7}" dt="2022-05-02T14:55:33.953" v="6602" actId="1036"/>
          <ac:spMkLst>
            <pc:docMk/>
            <pc:sldMk cId="3701024407" sldId="771"/>
            <ac:spMk id="3" creationId="{C4D5C923-3947-ACD6-3473-0F1DA80BCC27}"/>
          </ac:spMkLst>
        </pc:spChg>
        <pc:spChg chg="mod">
          <ac:chgData name="Ricardo Sérgio Souza e Sousa" userId="b2322a61-6b0f-42d2-a39f-a9a5f08999e4" providerId="ADAL" clId="{F7F79181-87BF-44AE-B828-0B657792DFE7}" dt="2022-05-16T18:29:51.080" v="8284" actId="1076"/>
          <ac:spMkLst>
            <pc:docMk/>
            <pc:sldMk cId="3701024407" sldId="771"/>
            <ac:spMk id="9" creationId="{95430EBF-3E59-4D40-928F-0C333B81CC46}"/>
          </ac:spMkLst>
        </pc:spChg>
        <pc:spChg chg="add del mod">
          <ac:chgData name="Ricardo Sérgio Souza e Sousa" userId="b2322a61-6b0f-42d2-a39f-a9a5f08999e4" providerId="ADAL" clId="{F7F79181-87BF-44AE-B828-0B657792DFE7}" dt="2022-05-02T14:53:43.716" v="6455" actId="478"/>
          <ac:spMkLst>
            <pc:docMk/>
            <pc:sldMk cId="3701024407" sldId="771"/>
            <ac:spMk id="12" creationId="{F6C25DC5-B9B4-A5E2-B893-9D0241439A76}"/>
          </ac:spMkLst>
        </pc:spChg>
        <pc:spChg chg="add mod">
          <ac:chgData name="Ricardo Sérgio Souza e Sousa" userId="b2322a61-6b0f-42d2-a39f-a9a5f08999e4" providerId="ADAL" clId="{F7F79181-87BF-44AE-B828-0B657792DFE7}" dt="2022-05-16T18:29:41.586" v="8278" actId="20577"/>
          <ac:spMkLst>
            <pc:docMk/>
            <pc:sldMk cId="3701024407" sldId="771"/>
            <ac:spMk id="13" creationId="{C691A7F3-A5B9-C96F-9D1A-2603FEB3D540}"/>
          </ac:spMkLst>
        </pc:spChg>
        <pc:spChg chg="add mod">
          <ac:chgData name="Ricardo Sérgio Souza e Sousa" userId="b2322a61-6b0f-42d2-a39f-a9a5f08999e4" providerId="ADAL" clId="{F7F79181-87BF-44AE-B828-0B657792DFE7}" dt="2022-05-02T14:55:33.953" v="6602" actId="1036"/>
          <ac:spMkLst>
            <pc:docMk/>
            <pc:sldMk cId="3701024407" sldId="771"/>
            <ac:spMk id="15" creationId="{100E8E16-0FD5-D01C-B973-C435A6E75F1E}"/>
          </ac:spMkLst>
        </pc:spChg>
        <pc:spChg chg="add mod">
          <ac:chgData name="Ricardo Sérgio Souza e Sousa" userId="b2322a61-6b0f-42d2-a39f-a9a5f08999e4" providerId="ADAL" clId="{F7F79181-87BF-44AE-B828-0B657792DFE7}" dt="2022-05-02T14:55:33.953" v="6602" actId="1036"/>
          <ac:spMkLst>
            <pc:docMk/>
            <pc:sldMk cId="3701024407" sldId="771"/>
            <ac:spMk id="16" creationId="{EE710A53-4DE1-4210-C697-9E83999DE7B1}"/>
          </ac:spMkLst>
        </pc:spChg>
        <pc:spChg chg="add mod">
          <ac:chgData name="Ricardo Sérgio Souza e Sousa" userId="b2322a61-6b0f-42d2-a39f-a9a5f08999e4" providerId="ADAL" clId="{F7F79181-87BF-44AE-B828-0B657792DFE7}" dt="2022-05-02T14:55:33.953" v="6602" actId="1036"/>
          <ac:spMkLst>
            <pc:docMk/>
            <pc:sldMk cId="3701024407" sldId="771"/>
            <ac:spMk id="17" creationId="{CB67432A-BA48-585B-8FFF-DD09609B0485}"/>
          </ac:spMkLst>
        </pc:spChg>
        <pc:spChg chg="add mod">
          <ac:chgData name="Ricardo Sérgio Souza e Sousa" userId="b2322a61-6b0f-42d2-a39f-a9a5f08999e4" providerId="ADAL" clId="{F7F79181-87BF-44AE-B828-0B657792DFE7}" dt="2022-05-02T14:55:33.953" v="6602" actId="1036"/>
          <ac:spMkLst>
            <pc:docMk/>
            <pc:sldMk cId="3701024407" sldId="771"/>
            <ac:spMk id="18" creationId="{4034ADD4-1C08-DB81-B408-BE5B8CDC608C}"/>
          </ac:spMkLst>
        </pc:spChg>
        <pc:spChg chg="add mod">
          <ac:chgData name="Ricardo Sérgio Souza e Sousa" userId="b2322a61-6b0f-42d2-a39f-a9a5f08999e4" providerId="ADAL" clId="{F7F79181-87BF-44AE-B828-0B657792DFE7}" dt="2022-05-02T14:55:33.953" v="6602" actId="1036"/>
          <ac:spMkLst>
            <pc:docMk/>
            <pc:sldMk cId="3701024407" sldId="771"/>
            <ac:spMk id="19" creationId="{7DCF5562-6D47-C56E-4819-91D0E3430C70}"/>
          </ac:spMkLst>
        </pc:spChg>
        <pc:spChg chg="add mod">
          <ac:chgData name="Ricardo Sérgio Souza e Sousa" userId="b2322a61-6b0f-42d2-a39f-a9a5f08999e4" providerId="ADAL" clId="{F7F79181-87BF-44AE-B828-0B657792DFE7}" dt="2022-05-02T14:55:33.953" v="6602" actId="1036"/>
          <ac:spMkLst>
            <pc:docMk/>
            <pc:sldMk cId="3701024407" sldId="771"/>
            <ac:spMk id="20" creationId="{253E6890-4670-C91B-D584-C39CCAFDF2B0}"/>
          </ac:spMkLst>
        </pc:spChg>
        <pc:spChg chg="add mod">
          <ac:chgData name="Ricardo Sérgio Souza e Sousa" userId="b2322a61-6b0f-42d2-a39f-a9a5f08999e4" providerId="ADAL" clId="{F7F79181-87BF-44AE-B828-0B657792DFE7}" dt="2022-05-02T14:55:55.538" v="6611" actId="1036"/>
          <ac:spMkLst>
            <pc:docMk/>
            <pc:sldMk cId="3701024407" sldId="771"/>
            <ac:spMk id="39" creationId="{5F0E1AF8-C776-5C15-865C-867FB45DB9B7}"/>
          </ac:spMkLst>
        </pc:spChg>
        <pc:spChg chg="add del mod">
          <ac:chgData name="Ricardo Sérgio Souza e Sousa" userId="b2322a61-6b0f-42d2-a39f-a9a5f08999e4" providerId="ADAL" clId="{F7F79181-87BF-44AE-B828-0B657792DFE7}" dt="2022-05-02T14:48:54.712" v="6330" actId="478"/>
          <ac:spMkLst>
            <pc:docMk/>
            <pc:sldMk cId="3701024407" sldId="771"/>
            <ac:spMk id="47" creationId="{C48076C7-B8AA-8FDF-E198-4047AF8B4D76}"/>
          </ac:spMkLst>
        </pc:spChg>
        <pc:spChg chg="add mod">
          <ac:chgData name="Ricardo Sérgio Souza e Sousa" userId="b2322a61-6b0f-42d2-a39f-a9a5f08999e4" providerId="ADAL" clId="{F7F79181-87BF-44AE-B828-0B657792DFE7}" dt="2022-05-02T14:55:41.319" v="6603" actId="1076"/>
          <ac:spMkLst>
            <pc:docMk/>
            <pc:sldMk cId="3701024407" sldId="771"/>
            <ac:spMk id="52" creationId="{71D59B90-5DD7-9336-1D8B-ACC470CEFF52}"/>
          </ac:spMkLst>
        </pc:spChg>
        <pc:spChg chg="add mod">
          <ac:chgData name="Ricardo Sérgio Souza e Sousa" userId="b2322a61-6b0f-42d2-a39f-a9a5f08999e4" providerId="ADAL" clId="{F7F79181-87BF-44AE-B828-0B657792DFE7}" dt="2022-05-02T14:55:46.335" v="6604" actId="1076"/>
          <ac:spMkLst>
            <pc:docMk/>
            <pc:sldMk cId="3701024407" sldId="771"/>
            <ac:spMk id="54" creationId="{2F41315D-CAB1-461E-3208-F346D5469FB1}"/>
          </ac:spMkLst>
        </pc:spChg>
        <pc:spChg chg="add mod">
          <ac:chgData name="Ricardo Sérgio Souza e Sousa" userId="b2322a61-6b0f-42d2-a39f-a9a5f08999e4" providerId="ADAL" clId="{F7F79181-87BF-44AE-B828-0B657792DFE7}" dt="2022-05-02T14:56:00.793" v="6618" actId="1036"/>
          <ac:spMkLst>
            <pc:docMk/>
            <pc:sldMk cId="3701024407" sldId="771"/>
            <ac:spMk id="55" creationId="{9ABA9005-879F-7893-25FC-03FB3A7C810C}"/>
          </ac:spMkLst>
        </pc:spChg>
        <pc:spChg chg="add mod">
          <ac:chgData name="Ricardo Sérgio Souza e Sousa" userId="b2322a61-6b0f-42d2-a39f-a9a5f08999e4" providerId="ADAL" clId="{F7F79181-87BF-44AE-B828-0B657792DFE7}" dt="2022-05-02T14:55:33.953" v="6602" actId="1036"/>
          <ac:spMkLst>
            <pc:docMk/>
            <pc:sldMk cId="3701024407" sldId="771"/>
            <ac:spMk id="56" creationId="{E0E8895C-99CB-B076-4BCF-0152CEF47FE0}"/>
          </ac:spMkLst>
        </pc:spChg>
        <pc:spChg chg="mod">
          <ac:chgData name="Ricardo Sérgio Souza e Sousa" userId="b2322a61-6b0f-42d2-a39f-a9a5f08999e4" providerId="ADAL" clId="{F7F79181-87BF-44AE-B828-0B657792DFE7}" dt="2022-05-02T14:59:39.882" v="6792" actId="20577"/>
          <ac:spMkLst>
            <pc:docMk/>
            <pc:sldMk cId="3701024407" sldId="771"/>
            <ac:spMk id="6146" creationId="{D09FE7F9-46DF-4C6C-A395-297C6B73400F}"/>
          </ac:spMkLst>
        </pc:spChg>
        <pc:grpChg chg="del">
          <ac:chgData name="Ricardo Sérgio Souza e Sousa" userId="b2322a61-6b0f-42d2-a39f-a9a5f08999e4" providerId="ADAL" clId="{F7F79181-87BF-44AE-B828-0B657792DFE7}" dt="2022-05-02T14:23:59.516" v="5462" actId="478"/>
          <ac:grpSpMkLst>
            <pc:docMk/>
            <pc:sldMk cId="3701024407" sldId="771"/>
            <ac:grpSpMk id="6148" creationId="{5A037381-04E7-4931-BE46-03DCE3B8D99D}"/>
          </ac:grpSpMkLst>
        </pc:grpChg>
        <pc:picChg chg="add del mod">
          <ac:chgData name="Ricardo Sérgio Souza e Sousa" userId="b2322a61-6b0f-42d2-a39f-a9a5f08999e4" providerId="ADAL" clId="{F7F79181-87BF-44AE-B828-0B657792DFE7}" dt="2022-05-02T14:26:27.217" v="5512" actId="478"/>
          <ac:picMkLst>
            <pc:docMk/>
            <pc:sldMk cId="3701024407" sldId="771"/>
            <ac:picMk id="1026" creationId="{BB719EA3-1291-119A-C8C0-6E2796B5575A}"/>
          </ac:picMkLst>
        </pc:picChg>
        <pc:picChg chg="add del mod">
          <ac:chgData name="Ricardo Sérgio Souza e Sousa" userId="b2322a61-6b0f-42d2-a39f-a9a5f08999e4" providerId="ADAL" clId="{F7F79181-87BF-44AE-B828-0B657792DFE7}" dt="2022-05-02T14:45:51.753" v="6149" actId="478"/>
          <ac:picMkLst>
            <pc:docMk/>
            <pc:sldMk cId="3701024407" sldId="771"/>
            <ac:picMk id="1027" creationId="{BD8B4CD9-0E70-073A-B00F-06C35EA5BC7B}"/>
          </ac:picMkLst>
        </pc:picChg>
        <pc:cxnChg chg="add del mod">
          <ac:chgData name="Ricardo Sérgio Souza e Sousa" userId="b2322a61-6b0f-42d2-a39f-a9a5f08999e4" providerId="ADAL" clId="{F7F79181-87BF-44AE-B828-0B657792DFE7}" dt="2022-05-02T14:53:46.115" v="6456" actId="478"/>
          <ac:cxnSpMkLst>
            <pc:docMk/>
            <pc:sldMk cId="3701024407" sldId="771"/>
            <ac:cxnSpMk id="5" creationId="{E0AB4B50-C818-B576-3600-02AD36713D3A}"/>
          </ac:cxnSpMkLst>
        </pc:cxnChg>
        <pc:cxnChg chg="add mod">
          <ac:chgData name="Ricardo Sérgio Souza e Sousa" userId="b2322a61-6b0f-42d2-a39f-a9a5f08999e4" providerId="ADAL" clId="{F7F79181-87BF-44AE-B828-0B657792DFE7}" dt="2022-05-02T14:55:33.953" v="6602" actId="1036"/>
          <ac:cxnSpMkLst>
            <pc:docMk/>
            <pc:sldMk cId="3701024407" sldId="771"/>
            <ac:cxnSpMk id="23" creationId="{625F20F6-430B-29F4-711D-19E792302638}"/>
          </ac:cxnSpMkLst>
        </pc:cxnChg>
        <pc:cxnChg chg="add mod">
          <ac:chgData name="Ricardo Sérgio Souza e Sousa" userId="b2322a61-6b0f-42d2-a39f-a9a5f08999e4" providerId="ADAL" clId="{F7F79181-87BF-44AE-B828-0B657792DFE7}" dt="2022-05-02T14:55:33.953" v="6602" actId="1036"/>
          <ac:cxnSpMkLst>
            <pc:docMk/>
            <pc:sldMk cId="3701024407" sldId="771"/>
            <ac:cxnSpMk id="26" creationId="{179E9F69-1F2F-1E13-E7A0-68DCB06CD897}"/>
          </ac:cxnSpMkLst>
        </pc:cxnChg>
        <pc:cxnChg chg="add mod">
          <ac:chgData name="Ricardo Sérgio Souza e Sousa" userId="b2322a61-6b0f-42d2-a39f-a9a5f08999e4" providerId="ADAL" clId="{F7F79181-87BF-44AE-B828-0B657792DFE7}" dt="2022-05-02T14:55:33.953" v="6602" actId="1036"/>
          <ac:cxnSpMkLst>
            <pc:docMk/>
            <pc:sldMk cId="3701024407" sldId="771"/>
            <ac:cxnSpMk id="29" creationId="{388AFB95-E8EF-2042-3E51-DB6B97FADE04}"/>
          </ac:cxnSpMkLst>
        </pc:cxnChg>
        <pc:cxnChg chg="add mod">
          <ac:chgData name="Ricardo Sérgio Souza e Sousa" userId="b2322a61-6b0f-42d2-a39f-a9a5f08999e4" providerId="ADAL" clId="{F7F79181-87BF-44AE-B828-0B657792DFE7}" dt="2022-05-02T14:55:33.953" v="6602" actId="1036"/>
          <ac:cxnSpMkLst>
            <pc:docMk/>
            <pc:sldMk cId="3701024407" sldId="771"/>
            <ac:cxnSpMk id="35" creationId="{8B04CF1E-B17F-BF07-D92E-31F1C39A12FB}"/>
          </ac:cxnSpMkLst>
        </pc:cxnChg>
        <pc:cxnChg chg="add mod">
          <ac:chgData name="Ricardo Sérgio Souza e Sousa" userId="b2322a61-6b0f-42d2-a39f-a9a5f08999e4" providerId="ADAL" clId="{F7F79181-87BF-44AE-B828-0B657792DFE7}" dt="2022-05-02T14:55:33.953" v="6602" actId="1036"/>
          <ac:cxnSpMkLst>
            <pc:docMk/>
            <pc:sldMk cId="3701024407" sldId="771"/>
            <ac:cxnSpMk id="38" creationId="{7C2BBD00-20F3-5020-65DD-8C7A81FFE939}"/>
          </ac:cxnSpMkLst>
        </pc:cxnChg>
        <pc:cxnChg chg="add mod">
          <ac:chgData name="Ricardo Sérgio Souza e Sousa" userId="b2322a61-6b0f-42d2-a39f-a9a5f08999e4" providerId="ADAL" clId="{F7F79181-87BF-44AE-B828-0B657792DFE7}" dt="2022-05-02T14:55:33.953" v="6602" actId="1036"/>
          <ac:cxnSpMkLst>
            <pc:docMk/>
            <pc:sldMk cId="3701024407" sldId="771"/>
            <ac:cxnSpMk id="41" creationId="{E9269600-2E6D-3D66-126F-B63F2491A836}"/>
          </ac:cxnSpMkLst>
        </pc:cxnChg>
        <pc:cxnChg chg="add mod">
          <ac:chgData name="Ricardo Sérgio Souza e Sousa" userId="b2322a61-6b0f-42d2-a39f-a9a5f08999e4" providerId="ADAL" clId="{F7F79181-87BF-44AE-B828-0B657792DFE7}" dt="2022-05-02T14:55:33.953" v="6602" actId="1036"/>
          <ac:cxnSpMkLst>
            <pc:docMk/>
            <pc:sldMk cId="3701024407" sldId="771"/>
            <ac:cxnSpMk id="44" creationId="{3CC7427C-030B-370E-FB4D-B0A8E0721C90}"/>
          </ac:cxnSpMkLst>
        </pc:cxnChg>
        <pc:cxnChg chg="add mod">
          <ac:chgData name="Ricardo Sérgio Souza e Sousa" userId="b2322a61-6b0f-42d2-a39f-a9a5f08999e4" providerId="ADAL" clId="{F7F79181-87BF-44AE-B828-0B657792DFE7}" dt="2022-05-02T14:55:33.953" v="6602" actId="1036"/>
          <ac:cxnSpMkLst>
            <pc:docMk/>
            <pc:sldMk cId="3701024407" sldId="771"/>
            <ac:cxnSpMk id="48" creationId="{B82589EB-8FA0-8EC3-8A17-61CF74679EBC}"/>
          </ac:cxnSpMkLst>
        </pc:cxnChg>
        <pc:cxnChg chg="add mod">
          <ac:chgData name="Ricardo Sérgio Souza e Sousa" userId="b2322a61-6b0f-42d2-a39f-a9a5f08999e4" providerId="ADAL" clId="{F7F79181-87BF-44AE-B828-0B657792DFE7}" dt="2022-05-02T14:55:33.953" v="6602" actId="1036"/>
          <ac:cxnSpMkLst>
            <pc:docMk/>
            <pc:sldMk cId="3701024407" sldId="771"/>
            <ac:cxnSpMk id="57" creationId="{95730E4D-397B-BF07-BB3D-3380746E0A90}"/>
          </ac:cxnSpMkLst>
        </pc:cxnChg>
      </pc:sldChg>
      <pc:sldChg chg="addSp delSp modSp add del mod modClrScheme chgLayout">
        <pc:chgData name="Ricardo Sérgio Souza e Sousa" userId="b2322a61-6b0f-42d2-a39f-a9a5f08999e4" providerId="ADAL" clId="{F7F79181-87BF-44AE-B828-0B657792DFE7}" dt="2022-05-16T18:47:14.524" v="8851"/>
        <pc:sldMkLst>
          <pc:docMk/>
          <pc:sldMk cId="2458955814" sldId="772"/>
        </pc:sldMkLst>
        <pc:spChg chg="add del mod ord">
          <ac:chgData name="Ricardo Sérgio Souza e Sousa" userId="b2322a61-6b0f-42d2-a39f-a9a5f08999e4" providerId="ADAL" clId="{F7F79181-87BF-44AE-B828-0B657792DFE7}" dt="2022-05-16T18:47:14.524" v="8851"/>
          <ac:spMkLst>
            <pc:docMk/>
            <pc:sldMk cId="2458955814" sldId="772"/>
            <ac:spMk id="2" creationId="{EFE00B51-D32A-DB2E-8530-32F7878AC2C5}"/>
          </ac:spMkLst>
        </pc:spChg>
        <pc:spChg chg="add mod">
          <ac:chgData name="Ricardo Sérgio Souza e Sousa" userId="b2322a61-6b0f-42d2-a39f-a9a5f08999e4" providerId="ADAL" clId="{F7F79181-87BF-44AE-B828-0B657792DFE7}" dt="2022-05-16T18:43:17.155" v="8782" actId="404"/>
          <ac:spMkLst>
            <pc:docMk/>
            <pc:sldMk cId="2458955814" sldId="772"/>
            <ac:spMk id="5" creationId="{3970088A-3F3A-288C-D996-35A484240521}"/>
          </ac:spMkLst>
        </pc:spChg>
        <pc:spChg chg="add mod">
          <ac:chgData name="Ricardo Sérgio Souza e Sousa" userId="b2322a61-6b0f-42d2-a39f-a9a5f08999e4" providerId="ADAL" clId="{F7F79181-87BF-44AE-B828-0B657792DFE7}" dt="2022-05-16T18:44:33.846" v="8788" actId="1076"/>
          <ac:spMkLst>
            <pc:docMk/>
            <pc:sldMk cId="2458955814" sldId="772"/>
            <ac:spMk id="6" creationId="{B19DC428-1D51-5E0A-FDC6-E7824770286A}"/>
          </ac:spMkLst>
        </pc:spChg>
        <pc:spChg chg="add mod">
          <ac:chgData name="Ricardo Sérgio Souza e Sousa" userId="b2322a61-6b0f-42d2-a39f-a9a5f08999e4" providerId="ADAL" clId="{F7F79181-87BF-44AE-B828-0B657792DFE7}" dt="2022-05-16T18:44:33.846" v="8788" actId="1076"/>
          <ac:spMkLst>
            <pc:docMk/>
            <pc:sldMk cId="2458955814" sldId="772"/>
            <ac:spMk id="7" creationId="{6CB8BD92-DF31-7782-68AD-F2288F6ED3D4}"/>
          </ac:spMkLst>
        </pc:spChg>
        <pc:spChg chg="add mod">
          <ac:chgData name="Ricardo Sérgio Souza e Sousa" userId="b2322a61-6b0f-42d2-a39f-a9a5f08999e4" providerId="ADAL" clId="{F7F79181-87BF-44AE-B828-0B657792DFE7}" dt="2022-05-16T18:45:45.891" v="8812" actId="1036"/>
          <ac:spMkLst>
            <pc:docMk/>
            <pc:sldMk cId="2458955814" sldId="772"/>
            <ac:spMk id="8" creationId="{7811B1AF-29FC-48A0-F9AF-DDF2C56B4B33}"/>
          </ac:spMkLst>
        </pc:spChg>
        <pc:spChg chg="mod">
          <ac:chgData name="Ricardo Sérgio Souza e Sousa" userId="b2322a61-6b0f-42d2-a39f-a9a5f08999e4" providerId="ADAL" clId="{F7F79181-87BF-44AE-B828-0B657792DFE7}" dt="2022-05-02T14:26:43.098" v="5540" actId="20577"/>
          <ac:spMkLst>
            <pc:docMk/>
            <pc:sldMk cId="2458955814" sldId="772"/>
            <ac:spMk id="9" creationId="{95430EBF-3E59-4D40-928F-0C333B81CC46}"/>
          </ac:spMkLst>
        </pc:spChg>
        <pc:spChg chg="add mod">
          <ac:chgData name="Ricardo Sérgio Souza e Sousa" userId="b2322a61-6b0f-42d2-a39f-a9a5f08999e4" providerId="ADAL" clId="{F7F79181-87BF-44AE-B828-0B657792DFE7}" dt="2022-05-16T18:45:45.891" v="8812" actId="1036"/>
          <ac:spMkLst>
            <pc:docMk/>
            <pc:sldMk cId="2458955814" sldId="772"/>
            <ac:spMk id="10" creationId="{CBE9F2A0-65EE-0436-EEA3-C0E831EE02B7}"/>
          </ac:spMkLst>
        </pc:spChg>
        <pc:spChg chg="add mod">
          <ac:chgData name="Ricardo Sérgio Souza e Sousa" userId="b2322a61-6b0f-42d2-a39f-a9a5f08999e4" providerId="ADAL" clId="{F7F79181-87BF-44AE-B828-0B657792DFE7}" dt="2022-05-16T18:45:55.970" v="8821" actId="1036"/>
          <ac:spMkLst>
            <pc:docMk/>
            <pc:sldMk cId="2458955814" sldId="772"/>
            <ac:spMk id="11" creationId="{2EE07C6C-DED3-16E9-8343-11252BDB6EC3}"/>
          </ac:spMkLst>
        </pc:spChg>
        <pc:spChg chg="add mod">
          <ac:chgData name="Ricardo Sérgio Souza e Sousa" userId="b2322a61-6b0f-42d2-a39f-a9a5f08999e4" providerId="ADAL" clId="{F7F79181-87BF-44AE-B828-0B657792DFE7}" dt="2022-05-16T18:45:55.970" v="8821" actId="1036"/>
          <ac:spMkLst>
            <pc:docMk/>
            <pc:sldMk cId="2458955814" sldId="772"/>
            <ac:spMk id="12" creationId="{B980BC5B-009E-E4E4-E0D4-42732D6FEA56}"/>
          </ac:spMkLst>
        </pc:spChg>
        <pc:spChg chg="add mod">
          <ac:chgData name="Ricardo Sérgio Souza e Sousa" userId="b2322a61-6b0f-42d2-a39f-a9a5f08999e4" providerId="ADAL" clId="{F7F79181-87BF-44AE-B828-0B657792DFE7}" dt="2022-05-16T18:45:55.970" v="8821" actId="1036"/>
          <ac:spMkLst>
            <pc:docMk/>
            <pc:sldMk cId="2458955814" sldId="772"/>
            <ac:spMk id="13" creationId="{5CFB0BDB-BAAB-820E-3EBB-9C590EE37049}"/>
          </ac:spMkLst>
        </pc:spChg>
        <pc:spChg chg="add del mod">
          <ac:chgData name="Ricardo Sérgio Souza e Sousa" userId="b2322a61-6b0f-42d2-a39f-a9a5f08999e4" providerId="ADAL" clId="{F7F79181-87BF-44AE-B828-0B657792DFE7}" dt="2022-05-16T18:43:46.574" v="8783" actId="478"/>
          <ac:spMkLst>
            <pc:docMk/>
            <pc:sldMk cId="2458955814" sldId="772"/>
            <ac:spMk id="14" creationId="{BD4564AA-64B7-3F60-8356-FD48C38D5821}"/>
          </ac:spMkLst>
        </pc:spChg>
        <pc:spChg chg="add mod">
          <ac:chgData name="Ricardo Sérgio Souza e Sousa" userId="b2322a61-6b0f-42d2-a39f-a9a5f08999e4" providerId="ADAL" clId="{F7F79181-87BF-44AE-B828-0B657792DFE7}" dt="2022-05-16T18:45:55.970" v="8821" actId="1036"/>
          <ac:spMkLst>
            <pc:docMk/>
            <pc:sldMk cId="2458955814" sldId="772"/>
            <ac:spMk id="15" creationId="{392F54CC-D76A-D627-5F1E-303FD0F93FBB}"/>
          </ac:spMkLst>
        </pc:spChg>
        <pc:spChg chg="add mod">
          <ac:chgData name="Ricardo Sérgio Souza e Sousa" userId="b2322a61-6b0f-42d2-a39f-a9a5f08999e4" providerId="ADAL" clId="{F7F79181-87BF-44AE-B828-0B657792DFE7}" dt="2022-05-16T18:45:55.970" v="8821" actId="1036"/>
          <ac:spMkLst>
            <pc:docMk/>
            <pc:sldMk cId="2458955814" sldId="772"/>
            <ac:spMk id="24" creationId="{B19B9246-0696-0DF6-BCC0-8E32E49B31F5}"/>
          </ac:spMkLst>
        </pc:spChg>
        <pc:spChg chg="add del mod">
          <ac:chgData name="Ricardo Sérgio Souza e Sousa" userId="b2322a61-6b0f-42d2-a39f-a9a5f08999e4" providerId="ADAL" clId="{F7F79181-87BF-44AE-B828-0B657792DFE7}" dt="2022-05-16T18:42:53.587" v="8779" actId="478"/>
          <ac:spMkLst>
            <pc:docMk/>
            <pc:sldMk cId="2458955814" sldId="772"/>
            <ac:spMk id="25" creationId="{0112BC9D-27C4-6004-3B0D-8A3A46DC60B6}"/>
          </ac:spMkLst>
        </pc:spChg>
        <pc:spChg chg="add mod">
          <ac:chgData name="Ricardo Sérgio Souza e Sousa" userId="b2322a61-6b0f-42d2-a39f-a9a5f08999e4" providerId="ADAL" clId="{F7F79181-87BF-44AE-B828-0B657792DFE7}" dt="2022-05-16T18:45:45.891" v="8812" actId="1036"/>
          <ac:spMkLst>
            <pc:docMk/>
            <pc:sldMk cId="2458955814" sldId="772"/>
            <ac:spMk id="26" creationId="{EBB63839-3F1D-2C3B-0B02-AB3929BF6054}"/>
          </ac:spMkLst>
        </pc:spChg>
        <pc:spChg chg="add del mod">
          <ac:chgData name="Ricardo Sérgio Souza e Sousa" userId="b2322a61-6b0f-42d2-a39f-a9a5f08999e4" providerId="ADAL" clId="{F7F79181-87BF-44AE-B828-0B657792DFE7}" dt="2022-05-16T18:43:52.546" v="8784" actId="478"/>
          <ac:spMkLst>
            <pc:docMk/>
            <pc:sldMk cId="2458955814" sldId="772"/>
            <ac:spMk id="27" creationId="{2641B5CD-1B82-DAFE-9F48-1612313941B0}"/>
          </ac:spMkLst>
        </pc:spChg>
        <pc:spChg chg="add mod">
          <ac:chgData name="Ricardo Sérgio Souza e Sousa" userId="b2322a61-6b0f-42d2-a39f-a9a5f08999e4" providerId="ADAL" clId="{F7F79181-87BF-44AE-B828-0B657792DFE7}" dt="2022-05-16T18:46:13.051" v="8830" actId="1036"/>
          <ac:spMkLst>
            <pc:docMk/>
            <pc:sldMk cId="2458955814" sldId="772"/>
            <ac:spMk id="28" creationId="{89CCD9E0-9AEC-B0EB-5F8E-53C17E2BC2F6}"/>
          </ac:spMkLst>
        </pc:spChg>
        <pc:spChg chg="add del mod">
          <ac:chgData name="Ricardo Sérgio Souza e Sousa" userId="b2322a61-6b0f-42d2-a39f-a9a5f08999e4" providerId="ADAL" clId="{F7F79181-87BF-44AE-B828-0B657792DFE7}" dt="2022-05-16T18:37:19.868" v="8654"/>
          <ac:spMkLst>
            <pc:docMk/>
            <pc:sldMk cId="2458955814" sldId="772"/>
            <ac:spMk id="30" creationId="{36CBE582-ACB4-69EA-2278-F61FB0CC996A}"/>
          </ac:spMkLst>
        </pc:spChg>
        <pc:spChg chg="add mod">
          <ac:chgData name="Ricardo Sérgio Souza e Sousa" userId="b2322a61-6b0f-42d2-a39f-a9a5f08999e4" providerId="ADAL" clId="{F7F79181-87BF-44AE-B828-0B657792DFE7}" dt="2022-05-16T18:45:55.970" v="8821" actId="1036"/>
          <ac:spMkLst>
            <pc:docMk/>
            <pc:sldMk cId="2458955814" sldId="772"/>
            <ac:spMk id="34" creationId="{A32EB28A-8175-0E6D-EFCE-45F82412B8BA}"/>
          </ac:spMkLst>
        </pc:spChg>
        <pc:spChg chg="add del mod">
          <ac:chgData name="Ricardo Sérgio Souza e Sousa" userId="b2322a61-6b0f-42d2-a39f-a9a5f08999e4" providerId="ADAL" clId="{F7F79181-87BF-44AE-B828-0B657792DFE7}" dt="2022-05-16T18:40:18.736" v="8743" actId="478"/>
          <ac:spMkLst>
            <pc:docMk/>
            <pc:sldMk cId="2458955814" sldId="772"/>
            <ac:spMk id="35" creationId="{84377DCA-BB53-C8FC-C7FB-5DF3C9C017FC}"/>
          </ac:spMkLst>
        </pc:spChg>
        <pc:spChg chg="add mod">
          <ac:chgData name="Ricardo Sérgio Souza e Sousa" userId="b2322a61-6b0f-42d2-a39f-a9a5f08999e4" providerId="ADAL" clId="{F7F79181-87BF-44AE-B828-0B657792DFE7}" dt="2022-05-16T18:45:55.970" v="8821" actId="1036"/>
          <ac:spMkLst>
            <pc:docMk/>
            <pc:sldMk cId="2458955814" sldId="772"/>
            <ac:spMk id="50" creationId="{E428DA84-07A3-1AA2-F289-826AD14DFEAC}"/>
          </ac:spMkLst>
        </pc:spChg>
        <pc:spChg chg="add mod">
          <ac:chgData name="Ricardo Sérgio Souza e Sousa" userId="b2322a61-6b0f-42d2-a39f-a9a5f08999e4" providerId="ADAL" clId="{F7F79181-87BF-44AE-B828-0B657792DFE7}" dt="2022-05-16T18:45:55.970" v="8821" actId="1036"/>
          <ac:spMkLst>
            <pc:docMk/>
            <pc:sldMk cId="2458955814" sldId="772"/>
            <ac:spMk id="51" creationId="{B9F0DA05-AD32-977D-C8C9-571B39E223DF}"/>
          </ac:spMkLst>
        </pc:spChg>
        <pc:spChg chg="add mod">
          <ac:chgData name="Ricardo Sérgio Souza e Sousa" userId="b2322a61-6b0f-42d2-a39f-a9a5f08999e4" providerId="ADAL" clId="{F7F79181-87BF-44AE-B828-0B657792DFE7}" dt="2022-05-16T18:46:03.054" v="8823" actId="14100"/>
          <ac:spMkLst>
            <pc:docMk/>
            <pc:sldMk cId="2458955814" sldId="772"/>
            <ac:spMk id="66" creationId="{C5040C8C-D84A-BBC3-972E-D16C15BDFD91}"/>
          </ac:spMkLst>
        </pc:spChg>
        <pc:spChg chg="add del mod ord">
          <ac:chgData name="Ricardo Sérgio Souza e Sousa" userId="b2322a61-6b0f-42d2-a39f-a9a5f08999e4" providerId="ADAL" clId="{F7F79181-87BF-44AE-B828-0B657792DFE7}" dt="2022-05-16T18:47:07.635" v="8833" actId="700"/>
          <ac:spMkLst>
            <pc:docMk/>
            <pc:sldMk cId="2458955814" sldId="772"/>
            <ac:spMk id="72" creationId="{D88DB796-B3B8-1C4C-550C-1950DA9259AD}"/>
          </ac:spMkLst>
        </pc:spChg>
        <pc:spChg chg="add del mod ord">
          <ac:chgData name="Ricardo Sérgio Souza e Sousa" userId="b2322a61-6b0f-42d2-a39f-a9a5f08999e4" providerId="ADAL" clId="{F7F79181-87BF-44AE-B828-0B657792DFE7}" dt="2022-05-16T18:47:07.635" v="8833" actId="700"/>
          <ac:spMkLst>
            <pc:docMk/>
            <pc:sldMk cId="2458955814" sldId="772"/>
            <ac:spMk id="73" creationId="{62F9B737-B2D0-4880-6476-D0196A2C9712}"/>
          </ac:spMkLst>
        </pc:spChg>
        <pc:spChg chg="del">
          <ac:chgData name="Ricardo Sérgio Souza e Sousa" userId="b2322a61-6b0f-42d2-a39f-a9a5f08999e4" providerId="ADAL" clId="{F7F79181-87BF-44AE-B828-0B657792DFE7}" dt="2022-05-02T14:56:46.715" v="6619" actId="478"/>
          <ac:spMkLst>
            <pc:docMk/>
            <pc:sldMk cId="2458955814" sldId="772"/>
            <ac:spMk id="6146" creationId="{D09FE7F9-46DF-4C6C-A395-297C6B73400F}"/>
          </ac:spMkLst>
        </pc:spChg>
        <pc:graphicFrameChg chg="add mod ord modVis replST">
          <ac:chgData name="Ricardo Sérgio Souza e Sousa" userId="b2322a61-6b0f-42d2-a39f-a9a5f08999e4" providerId="ADAL" clId="{F7F79181-87BF-44AE-B828-0B657792DFE7}" dt="2022-05-16T18:47:08.267" v="8849"/>
          <ac:graphicFrameMkLst>
            <pc:docMk/>
            <pc:sldMk cId="2458955814" sldId="772"/>
            <ac:graphicFrameMk id="74" creationId="{BDFBC030-E571-EA45-F33C-71C12004C843}"/>
          </ac:graphicFrameMkLst>
        </pc:graphicFrameChg>
        <pc:cxnChg chg="add mod">
          <ac:chgData name="Ricardo Sérgio Souza e Sousa" userId="b2322a61-6b0f-42d2-a39f-a9a5f08999e4" providerId="ADAL" clId="{F7F79181-87BF-44AE-B828-0B657792DFE7}" dt="2022-05-16T18:44:33.846" v="8788" actId="1076"/>
          <ac:cxnSpMkLst>
            <pc:docMk/>
            <pc:sldMk cId="2458955814" sldId="772"/>
            <ac:cxnSpMk id="16" creationId="{4A63B570-5795-A96B-C13E-5C384DB929A8}"/>
          </ac:cxnSpMkLst>
        </pc:cxnChg>
        <pc:cxnChg chg="add mod">
          <ac:chgData name="Ricardo Sérgio Souza e Sousa" userId="b2322a61-6b0f-42d2-a39f-a9a5f08999e4" providerId="ADAL" clId="{F7F79181-87BF-44AE-B828-0B657792DFE7}" dt="2022-05-16T18:45:49.982" v="8813" actId="14100"/>
          <ac:cxnSpMkLst>
            <pc:docMk/>
            <pc:sldMk cId="2458955814" sldId="772"/>
            <ac:cxnSpMk id="17" creationId="{A714CC03-BB56-72B7-430E-95BEB33C31BB}"/>
          </ac:cxnSpMkLst>
        </pc:cxnChg>
        <pc:cxnChg chg="add mod">
          <ac:chgData name="Ricardo Sérgio Souza e Sousa" userId="b2322a61-6b0f-42d2-a39f-a9a5f08999e4" providerId="ADAL" clId="{F7F79181-87BF-44AE-B828-0B657792DFE7}" dt="2022-05-16T18:45:45.891" v="8812" actId="1036"/>
          <ac:cxnSpMkLst>
            <pc:docMk/>
            <pc:sldMk cId="2458955814" sldId="772"/>
            <ac:cxnSpMk id="18" creationId="{2FB1FF63-A1FE-2089-4CE1-3959D244B531}"/>
          </ac:cxnSpMkLst>
        </pc:cxnChg>
        <pc:cxnChg chg="add del mod">
          <ac:chgData name="Ricardo Sérgio Souza e Sousa" userId="b2322a61-6b0f-42d2-a39f-a9a5f08999e4" providerId="ADAL" clId="{F7F79181-87BF-44AE-B828-0B657792DFE7}" dt="2022-05-16T18:37:33.581" v="8659" actId="478"/>
          <ac:cxnSpMkLst>
            <pc:docMk/>
            <pc:sldMk cId="2458955814" sldId="772"/>
            <ac:cxnSpMk id="19" creationId="{D8D6AD3E-BC4B-B0BE-D6FF-79F5AABFC8A5}"/>
          </ac:cxnSpMkLst>
        </pc:cxnChg>
        <pc:cxnChg chg="add mod">
          <ac:chgData name="Ricardo Sérgio Souza e Sousa" userId="b2322a61-6b0f-42d2-a39f-a9a5f08999e4" providerId="ADAL" clId="{F7F79181-87BF-44AE-B828-0B657792DFE7}" dt="2022-05-16T18:45:55.970" v="8821" actId="1036"/>
          <ac:cxnSpMkLst>
            <pc:docMk/>
            <pc:sldMk cId="2458955814" sldId="772"/>
            <ac:cxnSpMk id="20" creationId="{87339D16-9D3C-5FB8-422D-C706995BB733}"/>
          </ac:cxnSpMkLst>
        </pc:cxnChg>
        <pc:cxnChg chg="add del mod">
          <ac:chgData name="Ricardo Sérgio Souza e Sousa" userId="b2322a61-6b0f-42d2-a39f-a9a5f08999e4" providerId="ADAL" clId="{F7F79181-87BF-44AE-B828-0B657792DFE7}" dt="2022-05-16T18:42:55.627" v="8780" actId="478"/>
          <ac:cxnSpMkLst>
            <pc:docMk/>
            <pc:sldMk cId="2458955814" sldId="772"/>
            <ac:cxnSpMk id="21" creationId="{9B99AA27-537D-AAB2-2BD2-811BE57C4E59}"/>
          </ac:cxnSpMkLst>
        </pc:cxnChg>
        <pc:cxnChg chg="add del mod">
          <ac:chgData name="Ricardo Sérgio Souza e Sousa" userId="b2322a61-6b0f-42d2-a39f-a9a5f08999e4" providerId="ADAL" clId="{F7F79181-87BF-44AE-B828-0B657792DFE7}" dt="2022-05-16T18:43:53.623" v="8785" actId="478"/>
          <ac:cxnSpMkLst>
            <pc:docMk/>
            <pc:sldMk cId="2458955814" sldId="772"/>
            <ac:cxnSpMk id="22" creationId="{863568B3-C54D-27D3-87FA-2D90826B3AA8}"/>
          </ac:cxnSpMkLst>
        </pc:cxnChg>
        <pc:cxnChg chg="add mod">
          <ac:chgData name="Ricardo Sérgio Souza e Sousa" userId="b2322a61-6b0f-42d2-a39f-a9a5f08999e4" providerId="ADAL" clId="{F7F79181-87BF-44AE-B828-0B657792DFE7}" dt="2022-05-16T18:45:55.970" v="8821" actId="1036"/>
          <ac:cxnSpMkLst>
            <pc:docMk/>
            <pc:sldMk cId="2458955814" sldId="772"/>
            <ac:cxnSpMk id="23" creationId="{6A7582D2-6AED-CB58-94B3-5085DA19EF9A}"/>
          </ac:cxnSpMkLst>
        </pc:cxnChg>
        <pc:cxnChg chg="add mod">
          <ac:chgData name="Ricardo Sérgio Souza e Sousa" userId="b2322a61-6b0f-42d2-a39f-a9a5f08999e4" providerId="ADAL" clId="{F7F79181-87BF-44AE-B828-0B657792DFE7}" dt="2022-05-16T18:46:13.051" v="8830" actId="1036"/>
          <ac:cxnSpMkLst>
            <pc:docMk/>
            <pc:sldMk cId="2458955814" sldId="772"/>
            <ac:cxnSpMk id="29" creationId="{CD691339-50EC-6D21-2816-32F4C7355B92}"/>
          </ac:cxnSpMkLst>
        </pc:cxnChg>
        <pc:cxnChg chg="add mod">
          <ac:chgData name="Ricardo Sérgio Souza e Sousa" userId="b2322a61-6b0f-42d2-a39f-a9a5f08999e4" providerId="ADAL" clId="{F7F79181-87BF-44AE-B828-0B657792DFE7}" dt="2022-05-16T18:45:55.970" v="8821" actId="1036"/>
          <ac:cxnSpMkLst>
            <pc:docMk/>
            <pc:sldMk cId="2458955814" sldId="772"/>
            <ac:cxnSpMk id="31" creationId="{A1FE3C7B-C997-7717-D29C-9E7FEDF1A5E1}"/>
          </ac:cxnSpMkLst>
        </pc:cxnChg>
        <pc:cxnChg chg="add mod">
          <ac:chgData name="Ricardo Sérgio Souza e Sousa" userId="b2322a61-6b0f-42d2-a39f-a9a5f08999e4" providerId="ADAL" clId="{F7F79181-87BF-44AE-B828-0B657792DFE7}" dt="2022-05-16T18:45:55.970" v="8821" actId="1036"/>
          <ac:cxnSpMkLst>
            <pc:docMk/>
            <pc:sldMk cId="2458955814" sldId="772"/>
            <ac:cxnSpMk id="36" creationId="{0D3CD3BE-562C-FEC6-D7A5-5AC94018DF6C}"/>
          </ac:cxnSpMkLst>
        </pc:cxnChg>
        <pc:cxnChg chg="add mod">
          <ac:chgData name="Ricardo Sérgio Souza e Sousa" userId="b2322a61-6b0f-42d2-a39f-a9a5f08999e4" providerId="ADAL" clId="{F7F79181-87BF-44AE-B828-0B657792DFE7}" dt="2022-05-16T18:46:00.077" v="8822" actId="14100"/>
          <ac:cxnSpMkLst>
            <pc:docMk/>
            <pc:sldMk cId="2458955814" sldId="772"/>
            <ac:cxnSpMk id="47" creationId="{F06045DD-BE4B-2AB7-E4A5-6849C7EA8DD7}"/>
          </ac:cxnSpMkLst>
        </pc:cxnChg>
        <pc:cxnChg chg="add mod">
          <ac:chgData name="Ricardo Sérgio Souza e Sousa" userId="b2322a61-6b0f-42d2-a39f-a9a5f08999e4" providerId="ADAL" clId="{F7F79181-87BF-44AE-B828-0B657792DFE7}" dt="2022-05-16T18:45:55.970" v="8821" actId="1036"/>
          <ac:cxnSpMkLst>
            <pc:docMk/>
            <pc:sldMk cId="2458955814" sldId="772"/>
            <ac:cxnSpMk id="52" creationId="{BBFD9C71-80B5-3549-EA45-07069403A4BA}"/>
          </ac:cxnSpMkLst>
        </pc:cxnChg>
        <pc:cxnChg chg="add mod">
          <ac:chgData name="Ricardo Sérgio Souza e Sousa" userId="b2322a61-6b0f-42d2-a39f-a9a5f08999e4" providerId="ADAL" clId="{F7F79181-87BF-44AE-B828-0B657792DFE7}" dt="2022-05-16T18:46:06.652" v="8824" actId="14100"/>
          <ac:cxnSpMkLst>
            <pc:docMk/>
            <pc:sldMk cId="2458955814" sldId="772"/>
            <ac:cxnSpMk id="62" creationId="{3E516BAA-DBF8-8890-F68A-7D90AC773F58}"/>
          </ac:cxnSpMkLst>
        </pc:cxnChg>
      </pc:sldChg>
      <pc:sldChg chg="addSp delSp modSp add del mod">
        <pc:chgData name="Ricardo Sérgio Souza e Sousa" userId="b2322a61-6b0f-42d2-a39f-a9a5f08999e4" providerId="ADAL" clId="{F7F79181-87BF-44AE-B828-0B657792DFE7}" dt="2022-05-16T18:34:02.612" v="8514" actId="255"/>
        <pc:sldMkLst>
          <pc:docMk/>
          <pc:sldMk cId="949642342" sldId="773"/>
        </pc:sldMkLst>
        <pc:spChg chg="del">
          <ac:chgData name="Ricardo Sérgio Souza e Sousa" userId="b2322a61-6b0f-42d2-a39f-a9a5f08999e4" providerId="ADAL" clId="{F7F79181-87BF-44AE-B828-0B657792DFE7}" dt="2022-05-02T14:56:55.128" v="6621" actId="478"/>
          <ac:spMkLst>
            <pc:docMk/>
            <pc:sldMk cId="949642342" sldId="773"/>
            <ac:spMk id="2" creationId="{02D33547-B2C9-2587-9DFD-F2BE78F519E1}"/>
          </ac:spMkLst>
        </pc:spChg>
        <pc:spChg chg="del">
          <ac:chgData name="Ricardo Sérgio Souza e Sousa" userId="b2322a61-6b0f-42d2-a39f-a9a5f08999e4" providerId="ADAL" clId="{F7F79181-87BF-44AE-B828-0B657792DFE7}" dt="2022-05-02T14:56:55.128" v="6621" actId="478"/>
          <ac:spMkLst>
            <pc:docMk/>
            <pc:sldMk cId="949642342" sldId="773"/>
            <ac:spMk id="3" creationId="{C4D5C923-3947-ACD6-3473-0F1DA80BCC27}"/>
          </ac:spMkLst>
        </pc:spChg>
        <pc:spChg chg="add mod">
          <ac:chgData name="Ricardo Sérgio Souza e Sousa" userId="b2322a61-6b0f-42d2-a39f-a9a5f08999e4" providerId="ADAL" clId="{F7F79181-87BF-44AE-B828-0B657792DFE7}" dt="2022-05-16T18:30:07.719" v="8290"/>
          <ac:spMkLst>
            <pc:docMk/>
            <pc:sldMk cId="949642342" sldId="773"/>
            <ac:spMk id="4" creationId="{22EE8E67-37BF-2E47-D1D0-DF47311CEE3C}"/>
          </ac:spMkLst>
        </pc:spChg>
        <pc:spChg chg="add mod">
          <ac:chgData name="Ricardo Sérgio Souza e Sousa" userId="b2322a61-6b0f-42d2-a39f-a9a5f08999e4" providerId="ADAL" clId="{F7F79181-87BF-44AE-B828-0B657792DFE7}" dt="2022-05-16T18:30:34.192" v="8301" actId="20577"/>
          <ac:spMkLst>
            <pc:docMk/>
            <pc:sldMk cId="949642342" sldId="773"/>
            <ac:spMk id="5" creationId="{53257E4E-F33A-9D84-FC4A-970D3EB95289}"/>
          </ac:spMkLst>
        </pc:spChg>
        <pc:spChg chg="add mod">
          <ac:chgData name="Ricardo Sérgio Souza e Sousa" userId="b2322a61-6b0f-42d2-a39f-a9a5f08999e4" providerId="ADAL" clId="{F7F79181-87BF-44AE-B828-0B657792DFE7}" dt="2022-05-16T18:30:47.534" v="8324" actId="20577"/>
          <ac:spMkLst>
            <pc:docMk/>
            <pc:sldMk cId="949642342" sldId="773"/>
            <ac:spMk id="6" creationId="{8BB120F6-3D4E-3F57-393B-8C37044DAA25}"/>
          </ac:spMkLst>
        </pc:spChg>
        <pc:spChg chg="add mod">
          <ac:chgData name="Ricardo Sérgio Souza e Sousa" userId="b2322a61-6b0f-42d2-a39f-a9a5f08999e4" providerId="ADAL" clId="{F7F79181-87BF-44AE-B828-0B657792DFE7}" dt="2022-05-16T18:32:32.610" v="8462" actId="20577"/>
          <ac:spMkLst>
            <pc:docMk/>
            <pc:sldMk cId="949642342" sldId="773"/>
            <ac:spMk id="7" creationId="{D6041178-49C1-D6E8-D97C-B7C7872D8850}"/>
          </ac:spMkLst>
        </pc:spChg>
        <pc:spChg chg="add del mod">
          <ac:chgData name="Ricardo Sérgio Souza e Sousa" userId="b2322a61-6b0f-42d2-a39f-a9a5f08999e4" providerId="ADAL" clId="{F7F79181-87BF-44AE-B828-0B657792DFE7}" dt="2022-05-16T18:33:14.581" v="8506" actId="478"/>
          <ac:spMkLst>
            <pc:docMk/>
            <pc:sldMk cId="949642342" sldId="773"/>
            <ac:spMk id="8" creationId="{6BDD81E5-D1F9-EB95-9732-30E489299CDC}"/>
          </ac:spMkLst>
        </pc:spChg>
        <pc:spChg chg="mod">
          <ac:chgData name="Ricardo Sérgio Souza e Sousa" userId="b2322a61-6b0f-42d2-a39f-a9a5f08999e4" providerId="ADAL" clId="{F7F79181-87BF-44AE-B828-0B657792DFE7}" dt="2022-05-02T14:56:58.054" v="6625" actId="20577"/>
          <ac:spMkLst>
            <pc:docMk/>
            <pc:sldMk cId="949642342" sldId="773"/>
            <ac:spMk id="9" creationId="{95430EBF-3E59-4D40-928F-0C333B81CC46}"/>
          </ac:spMkLst>
        </pc:spChg>
        <pc:spChg chg="add del mod">
          <ac:chgData name="Ricardo Sérgio Souza e Sousa" userId="b2322a61-6b0f-42d2-a39f-a9a5f08999e4" providerId="ADAL" clId="{F7F79181-87BF-44AE-B828-0B657792DFE7}" dt="2022-05-16T18:33:14.581" v="8506" actId="478"/>
          <ac:spMkLst>
            <pc:docMk/>
            <pc:sldMk cId="949642342" sldId="773"/>
            <ac:spMk id="10" creationId="{A6B3021F-D223-D5D7-A55D-2F2B8BA273E8}"/>
          </ac:spMkLst>
        </pc:spChg>
        <pc:spChg chg="add mod">
          <ac:chgData name="Ricardo Sérgio Souza e Sousa" userId="b2322a61-6b0f-42d2-a39f-a9a5f08999e4" providerId="ADAL" clId="{F7F79181-87BF-44AE-B828-0B657792DFE7}" dt="2022-05-16T18:32:48.368" v="8499" actId="20577"/>
          <ac:spMkLst>
            <pc:docMk/>
            <pc:sldMk cId="949642342" sldId="773"/>
            <ac:spMk id="11" creationId="{389FA4BF-B7FB-21FB-71D3-1931A6D021F2}"/>
          </ac:spMkLst>
        </pc:spChg>
        <pc:spChg chg="add del mod">
          <ac:chgData name="Ricardo Sérgio Souza e Sousa" userId="b2322a61-6b0f-42d2-a39f-a9a5f08999e4" providerId="ADAL" clId="{F7F79181-87BF-44AE-B828-0B657792DFE7}" dt="2022-05-16T18:32:56.195" v="8500" actId="478"/>
          <ac:spMkLst>
            <pc:docMk/>
            <pc:sldMk cId="949642342" sldId="773"/>
            <ac:spMk id="12" creationId="{20600CD6-CEC2-7F2E-530E-2D7B0538159F}"/>
          </ac:spMkLst>
        </pc:spChg>
        <pc:spChg chg="add del mod">
          <ac:chgData name="Ricardo Sérgio Souza e Sousa" userId="b2322a61-6b0f-42d2-a39f-a9a5f08999e4" providerId="ADAL" clId="{F7F79181-87BF-44AE-B828-0B657792DFE7}" dt="2022-05-16T18:32:57.765" v="8501" actId="478"/>
          <ac:spMkLst>
            <pc:docMk/>
            <pc:sldMk cId="949642342" sldId="773"/>
            <ac:spMk id="13" creationId="{33F1F981-E5C3-0574-106D-342AC0053807}"/>
          </ac:spMkLst>
        </pc:spChg>
        <pc:spChg chg="del">
          <ac:chgData name="Ricardo Sérgio Souza e Sousa" userId="b2322a61-6b0f-42d2-a39f-a9a5f08999e4" providerId="ADAL" clId="{F7F79181-87BF-44AE-B828-0B657792DFE7}" dt="2022-05-02T14:56:55.128" v="6621" actId="478"/>
          <ac:spMkLst>
            <pc:docMk/>
            <pc:sldMk cId="949642342" sldId="773"/>
            <ac:spMk id="13" creationId="{C691A7F3-A5B9-C96F-9D1A-2603FEB3D540}"/>
          </ac:spMkLst>
        </pc:spChg>
        <pc:spChg chg="del">
          <ac:chgData name="Ricardo Sérgio Souza e Sousa" userId="b2322a61-6b0f-42d2-a39f-a9a5f08999e4" providerId="ADAL" clId="{F7F79181-87BF-44AE-B828-0B657792DFE7}" dt="2022-05-02T14:56:55.128" v="6621" actId="478"/>
          <ac:spMkLst>
            <pc:docMk/>
            <pc:sldMk cId="949642342" sldId="773"/>
            <ac:spMk id="15" creationId="{100E8E16-0FD5-D01C-B973-C435A6E75F1E}"/>
          </ac:spMkLst>
        </pc:spChg>
        <pc:spChg chg="del">
          <ac:chgData name="Ricardo Sérgio Souza e Sousa" userId="b2322a61-6b0f-42d2-a39f-a9a5f08999e4" providerId="ADAL" clId="{F7F79181-87BF-44AE-B828-0B657792DFE7}" dt="2022-05-02T14:56:55.128" v="6621" actId="478"/>
          <ac:spMkLst>
            <pc:docMk/>
            <pc:sldMk cId="949642342" sldId="773"/>
            <ac:spMk id="16" creationId="{EE710A53-4DE1-4210-C697-9E83999DE7B1}"/>
          </ac:spMkLst>
        </pc:spChg>
        <pc:spChg chg="del">
          <ac:chgData name="Ricardo Sérgio Souza e Sousa" userId="b2322a61-6b0f-42d2-a39f-a9a5f08999e4" providerId="ADAL" clId="{F7F79181-87BF-44AE-B828-0B657792DFE7}" dt="2022-05-02T14:56:55.128" v="6621" actId="478"/>
          <ac:spMkLst>
            <pc:docMk/>
            <pc:sldMk cId="949642342" sldId="773"/>
            <ac:spMk id="17" creationId="{CB67432A-BA48-585B-8FFF-DD09609B0485}"/>
          </ac:spMkLst>
        </pc:spChg>
        <pc:spChg chg="del">
          <ac:chgData name="Ricardo Sérgio Souza e Sousa" userId="b2322a61-6b0f-42d2-a39f-a9a5f08999e4" providerId="ADAL" clId="{F7F79181-87BF-44AE-B828-0B657792DFE7}" dt="2022-05-02T14:56:55.128" v="6621" actId="478"/>
          <ac:spMkLst>
            <pc:docMk/>
            <pc:sldMk cId="949642342" sldId="773"/>
            <ac:spMk id="18" creationId="{4034ADD4-1C08-DB81-B408-BE5B8CDC608C}"/>
          </ac:spMkLst>
        </pc:spChg>
        <pc:spChg chg="del">
          <ac:chgData name="Ricardo Sérgio Souza e Sousa" userId="b2322a61-6b0f-42d2-a39f-a9a5f08999e4" providerId="ADAL" clId="{F7F79181-87BF-44AE-B828-0B657792DFE7}" dt="2022-05-02T14:56:55.128" v="6621" actId="478"/>
          <ac:spMkLst>
            <pc:docMk/>
            <pc:sldMk cId="949642342" sldId="773"/>
            <ac:spMk id="19" creationId="{7DCF5562-6D47-C56E-4819-91D0E3430C70}"/>
          </ac:spMkLst>
        </pc:spChg>
        <pc:spChg chg="del">
          <ac:chgData name="Ricardo Sérgio Souza e Sousa" userId="b2322a61-6b0f-42d2-a39f-a9a5f08999e4" providerId="ADAL" clId="{F7F79181-87BF-44AE-B828-0B657792DFE7}" dt="2022-05-02T14:56:55.128" v="6621" actId="478"/>
          <ac:spMkLst>
            <pc:docMk/>
            <pc:sldMk cId="949642342" sldId="773"/>
            <ac:spMk id="20" creationId="{253E6890-4670-C91B-D584-C39CCAFDF2B0}"/>
          </ac:spMkLst>
        </pc:spChg>
        <pc:spChg chg="add mod">
          <ac:chgData name="Ricardo Sérgio Souza e Sousa" userId="b2322a61-6b0f-42d2-a39f-a9a5f08999e4" providerId="ADAL" clId="{F7F79181-87BF-44AE-B828-0B657792DFE7}" dt="2022-05-16T18:30:07.719" v="8290"/>
          <ac:spMkLst>
            <pc:docMk/>
            <pc:sldMk cId="949642342" sldId="773"/>
            <ac:spMk id="22" creationId="{20C72826-773A-529B-C723-E9618F18E0C9}"/>
          </ac:spMkLst>
        </pc:spChg>
        <pc:spChg chg="add del mod">
          <ac:chgData name="Ricardo Sérgio Souza e Sousa" userId="b2322a61-6b0f-42d2-a39f-a9a5f08999e4" providerId="ADAL" clId="{F7F79181-87BF-44AE-B828-0B657792DFE7}" dt="2022-05-16T18:32:59.601" v="8502" actId="478"/>
          <ac:spMkLst>
            <pc:docMk/>
            <pc:sldMk cId="949642342" sldId="773"/>
            <ac:spMk id="23" creationId="{B3312B12-ACAD-F389-624E-ECA47CEE224A}"/>
          </ac:spMkLst>
        </pc:spChg>
        <pc:spChg chg="add mod">
          <ac:chgData name="Ricardo Sérgio Souza e Sousa" userId="b2322a61-6b0f-42d2-a39f-a9a5f08999e4" providerId="ADAL" clId="{F7F79181-87BF-44AE-B828-0B657792DFE7}" dt="2022-05-16T18:30:07.719" v="8290"/>
          <ac:spMkLst>
            <pc:docMk/>
            <pc:sldMk cId="949642342" sldId="773"/>
            <ac:spMk id="24" creationId="{B218BCE2-C1C1-9E47-FEC2-25BA9CB4DAE0}"/>
          </ac:spMkLst>
        </pc:spChg>
        <pc:spChg chg="add del mod">
          <ac:chgData name="Ricardo Sérgio Souza e Sousa" userId="b2322a61-6b0f-42d2-a39f-a9a5f08999e4" providerId="ADAL" clId="{F7F79181-87BF-44AE-B828-0B657792DFE7}" dt="2022-05-16T18:33:09.801" v="8504" actId="478"/>
          <ac:spMkLst>
            <pc:docMk/>
            <pc:sldMk cId="949642342" sldId="773"/>
            <ac:spMk id="25" creationId="{618C2487-D28D-EB56-30BF-D56D682480E6}"/>
          </ac:spMkLst>
        </pc:spChg>
        <pc:spChg chg="add mod">
          <ac:chgData name="Ricardo Sérgio Souza e Sousa" userId="b2322a61-6b0f-42d2-a39f-a9a5f08999e4" providerId="ADAL" clId="{F7F79181-87BF-44AE-B828-0B657792DFE7}" dt="2022-05-16T18:33:26.902" v="8507" actId="1076"/>
          <ac:spMkLst>
            <pc:docMk/>
            <pc:sldMk cId="949642342" sldId="773"/>
            <ac:spMk id="26" creationId="{A3FF87A9-30BC-8F51-F76F-2F3E2227A85B}"/>
          </ac:spMkLst>
        </pc:spChg>
        <pc:spChg chg="del">
          <ac:chgData name="Ricardo Sérgio Souza e Sousa" userId="b2322a61-6b0f-42d2-a39f-a9a5f08999e4" providerId="ADAL" clId="{F7F79181-87BF-44AE-B828-0B657792DFE7}" dt="2022-05-02T14:56:55.128" v="6621" actId="478"/>
          <ac:spMkLst>
            <pc:docMk/>
            <pc:sldMk cId="949642342" sldId="773"/>
            <ac:spMk id="39" creationId="{5F0E1AF8-C776-5C15-865C-867FB45DB9B7}"/>
          </ac:spMkLst>
        </pc:spChg>
        <pc:spChg chg="del">
          <ac:chgData name="Ricardo Sérgio Souza e Sousa" userId="b2322a61-6b0f-42d2-a39f-a9a5f08999e4" providerId="ADAL" clId="{F7F79181-87BF-44AE-B828-0B657792DFE7}" dt="2022-05-02T14:56:55.128" v="6621" actId="478"/>
          <ac:spMkLst>
            <pc:docMk/>
            <pc:sldMk cId="949642342" sldId="773"/>
            <ac:spMk id="52" creationId="{71D59B90-5DD7-9336-1D8B-ACC470CEFF52}"/>
          </ac:spMkLst>
        </pc:spChg>
        <pc:spChg chg="del">
          <ac:chgData name="Ricardo Sérgio Souza e Sousa" userId="b2322a61-6b0f-42d2-a39f-a9a5f08999e4" providerId="ADAL" clId="{F7F79181-87BF-44AE-B828-0B657792DFE7}" dt="2022-05-02T14:56:55.128" v="6621" actId="478"/>
          <ac:spMkLst>
            <pc:docMk/>
            <pc:sldMk cId="949642342" sldId="773"/>
            <ac:spMk id="54" creationId="{2F41315D-CAB1-461E-3208-F346D5469FB1}"/>
          </ac:spMkLst>
        </pc:spChg>
        <pc:spChg chg="del">
          <ac:chgData name="Ricardo Sérgio Souza e Sousa" userId="b2322a61-6b0f-42d2-a39f-a9a5f08999e4" providerId="ADAL" clId="{F7F79181-87BF-44AE-B828-0B657792DFE7}" dt="2022-05-02T14:56:55.128" v="6621" actId="478"/>
          <ac:spMkLst>
            <pc:docMk/>
            <pc:sldMk cId="949642342" sldId="773"/>
            <ac:spMk id="55" creationId="{9ABA9005-879F-7893-25FC-03FB3A7C810C}"/>
          </ac:spMkLst>
        </pc:spChg>
        <pc:spChg chg="del">
          <ac:chgData name="Ricardo Sérgio Souza e Sousa" userId="b2322a61-6b0f-42d2-a39f-a9a5f08999e4" providerId="ADAL" clId="{F7F79181-87BF-44AE-B828-0B657792DFE7}" dt="2022-05-02T14:56:55.128" v="6621" actId="478"/>
          <ac:spMkLst>
            <pc:docMk/>
            <pc:sldMk cId="949642342" sldId="773"/>
            <ac:spMk id="56" creationId="{E0E8895C-99CB-B076-4BCF-0152CEF47FE0}"/>
          </ac:spMkLst>
        </pc:spChg>
        <pc:spChg chg="mod">
          <ac:chgData name="Ricardo Sérgio Souza e Sousa" userId="b2322a61-6b0f-42d2-a39f-a9a5f08999e4" providerId="ADAL" clId="{F7F79181-87BF-44AE-B828-0B657792DFE7}" dt="2022-05-16T18:34:02.612" v="8514" actId="255"/>
          <ac:spMkLst>
            <pc:docMk/>
            <pc:sldMk cId="949642342" sldId="773"/>
            <ac:spMk id="6146" creationId="{D09FE7F9-46DF-4C6C-A395-297C6B73400F}"/>
          </ac:spMkLst>
        </pc:spChg>
        <pc:cxnChg chg="add mod">
          <ac:chgData name="Ricardo Sérgio Souza e Sousa" userId="b2322a61-6b0f-42d2-a39f-a9a5f08999e4" providerId="ADAL" clId="{F7F79181-87BF-44AE-B828-0B657792DFE7}" dt="2022-05-16T18:30:07.719" v="8290"/>
          <ac:cxnSpMkLst>
            <pc:docMk/>
            <pc:sldMk cId="949642342" sldId="773"/>
            <ac:cxnSpMk id="14" creationId="{8546ADF0-5084-1C1B-3308-E287CEBA227E}"/>
          </ac:cxnSpMkLst>
        </pc:cxnChg>
        <pc:cxnChg chg="add mod">
          <ac:chgData name="Ricardo Sérgio Souza e Sousa" userId="b2322a61-6b0f-42d2-a39f-a9a5f08999e4" providerId="ADAL" clId="{F7F79181-87BF-44AE-B828-0B657792DFE7}" dt="2022-05-16T18:30:07.719" v="8290"/>
          <ac:cxnSpMkLst>
            <pc:docMk/>
            <pc:sldMk cId="949642342" sldId="773"/>
            <ac:cxnSpMk id="15" creationId="{F7950FC0-90B6-6BBA-E476-68CCBD02A56E}"/>
          </ac:cxnSpMkLst>
        </pc:cxnChg>
        <pc:cxnChg chg="add mod">
          <ac:chgData name="Ricardo Sérgio Souza e Sousa" userId="b2322a61-6b0f-42d2-a39f-a9a5f08999e4" providerId="ADAL" clId="{F7F79181-87BF-44AE-B828-0B657792DFE7}" dt="2022-05-16T18:30:07.719" v="8290"/>
          <ac:cxnSpMkLst>
            <pc:docMk/>
            <pc:sldMk cId="949642342" sldId="773"/>
            <ac:cxnSpMk id="16" creationId="{B93F96A9-D0C9-4A38-302E-798B72FCF36E}"/>
          </ac:cxnSpMkLst>
        </pc:cxnChg>
        <pc:cxnChg chg="add mod">
          <ac:chgData name="Ricardo Sérgio Souza e Sousa" userId="b2322a61-6b0f-42d2-a39f-a9a5f08999e4" providerId="ADAL" clId="{F7F79181-87BF-44AE-B828-0B657792DFE7}" dt="2022-05-16T18:30:07.719" v="8290"/>
          <ac:cxnSpMkLst>
            <pc:docMk/>
            <pc:sldMk cId="949642342" sldId="773"/>
            <ac:cxnSpMk id="17" creationId="{95F4BFEB-E738-6BEE-D17E-E085A2F67185}"/>
          </ac:cxnSpMkLst>
        </pc:cxnChg>
        <pc:cxnChg chg="add del mod">
          <ac:chgData name="Ricardo Sérgio Souza e Sousa" userId="b2322a61-6b0f-42d2-a39f-a9a5f08999e4" providerId="ADAL" clId="{F7F79181-87BF-44AE-B828-0B657792DFE7}" dt="2022-05-16T18:33:03.450" v="8503" actId="478"/>
          <ac:cxnSpMkLst>
            <pc:docMk/>
            <pc:sldMk cId="949642342" sldId="773"/>
            <ac:cxnSpMk id="18" creationId="{93F9DDB1-FFAA-AB66-6FBF-CCAF4E9842B2}"/>
          </ac:cxnSpMkLst>
        </pc:cxnChg>
        <pc:cxnChg chg="add del mod">
          <ac:chgData name="Ricardo Sérgio Souza e Sousa" userId="b2322a61-6b0f-42d2-a39f-a9a5f08999e4" providerId="ADAL" clId="{F7F79181-87BF-44AE-B828-0B657792DFE7}" dt="2022-05-16T18:32:59.601" v="8502" actId="478"/>
          <ac:cxnSpMkLst>
            <pc:docMk/>
            <pc:sldMk cId="949642342" sldId="773"/>
            <ac:cxnSpMk id="19" creationId="{735B696D-337F-577A-BCBC-15879CD07500}"/>
          </ac:cxnSpMkLst>
        </pc:cxnChg>
        <pc:cxnChg chg="add del mod">
          <ac:chgData name="Ricardo Sérgio Souza e Sousa" userId="b2322a61-6b0f-42d2-a39f-a9a5f08999e4" providerId="ADAL" clId="{F7F79181-87BF-44AE-B828-0B657792DFE7}" dt="2022-05-16T18:33:10.774" v="8505" actId="478"/>
          <ac:cxnSpMkLst>
            <pc:docMk/>
            <pc:sldMk cId="949642342" sldId="773"/>
            <ac:cxnSpMk id="20" creationId="{7609F3F7-C0CC-E8B9-98F9-94253316B76B}"/>
          </ac:cxnSpMkLst>
        </pc:cxnChg>
        <pc:cxnChg chg="add del mod">
          <ac:chgData name="Ricardo Sérgio Souza e Sousa" userId="b2322a61-6b0f-42d2-a39f-a9a5f08999e4" providerId="ADAL" clId="{F7F79181-87BF-44AE-B828-0B657792DFE7}" dt="2022-05-16T18:33:14.581" v="8506" actId="478"/>
          <ac:cxnSpMkLst>
            <pc:docMk/>
            <pc:sldMk cId="949642342" sldId="773"/>
            <ac:cxnSpMk id="21" creationId="{4E67784C-787C-4502-7D63-F3D01AC888A2}"/>
          </ac:cxnSpMkLst>
        </pc:cxnChg>
        <pc:cxnChg chg="del mod">
          <ac:chgData name="Ricardo Sérgio Souza e Sousa" userId="b2322a61-6b0f-42d2-a39f-a9a5f08999e4" providerId="ADAL" clId="{F7F79181-87BF-44AE-B828-0B657792DFE7}" dt="2022-05-02T14:56:55.128" v="6621" actId="478"/>
          <ac:cxnSpMkLst>
            <pc:docMk/>
            <pc:sldMk cId="949642342" sldId="773"/>
            <ac:cxnSpMk id="23" creationId="{625F20F6-430B-29F4-711D-19E792302638}"/>
          </ac:cxnSpMkLst>
        </pc:cxnChg>
        <pc:cxnChg chg="del mod">
          <ac:chgData name="Ricardo Sérgio Souza e Sousa" userId="b2322a61-6b0f-42d2-a39f-a9a5f08999e4" providerId="ADAL" clId="{F7F79181-87BF-44AE-B828-0B657792DFE7}" dt="2022-05-02T14:56:55.128" v="6621" actId="478"/>
          <ac:cxnSpMkLst>
            <pc:docMk/>
            <pc:sldMk cId="949642342" sldId="773"/>
            <ac:cxnSpMk id="26" creationId="{179E9F69-1F2F-1E13-E7A0-68DCB06CD897}"/>
          </ac:cxnSpMkLst>
        </pc:cxnChg>
        <pc:cxnChg chg="add mod">
          <ac:chgData name="Ricardo Sérgio Souza e Sousa" userId="b2322a61-6b0f-42d2-a39f-a9a5f08999e4" providerId="ADAL" clId="{F7F79181-87BF-44AE-B828-0B657792DFE7}" dt="2022-05-16T18:33:26.902" v="8507" actId="1076"/>
          <ac:cxnSpMkLst>
            <pc:docMk/>
            <pc:sldMk cId="949642342" sldId="773"/>
            <ac:cxnSpMk id="27" creationId="{2B9D89F6-8F86-336E-0B2C-37688A0812E4}"/>
          </ac:cxnSpMkLst>
        </pc:cxnChg>
        <pc:cxnChg chg="del mod">
          <ac:chgData name="Ricardo Sérgio Souza e Sousa" userId="b2322a61-6b0f-42d2-a39f-a9a5f08999e4" providerId="ADAL" clId="{F7F79181-87BF-44AE-B828-0B657792DFE7}" dt="2022-05-02T14:56:55.128" v="6621" actId="478"/>
          <ac:cxnSpMkLst>
            <pc:docMk/>
            <pc:sldMk cId="949642342" sldId="773"/>
            <ac:cxnSpMk id="29" creationId="{388AFB95-E8EF-2042-3E51-DB6B97FADE04}"/>
          </ac:cxnSpMkLst>
        </pc:cxnChg>
        <pc:cxnChg chg="del mod">
          <ac:chgData name="Ricardo Sérgio Souza e Sousa" userId="b2322a61-6b0f-42d2-a39f-a9a5f08999e4" providerId="ADAL" clId="{F7F79181-87BF-44AE-B828-0B657792DFE7}" dt="2022-05-02T14:56:55.128" v="6621" actId="478"/>
          <ac:cxnSpMkLst>
            <pc:docMk/>
            <pc:sldMk cId="949642342" sldId="773"/>
            <ac:cxnSpMk id="35" creationId="{8B04CF1E-B17F-BF07-D92E-31F1C39A12FB}"/>
          </ac:cxnSpMkLst>
        </pc:cxnChg>
        <pc:cxnChg chg="del mod">
          <ac:chgData name="Ricardo Sérgio Souza e Sousa" userId="b2322a61-6b0f-42d2-a39f-a9a5f08999e4" providerId="ADAL" clId="{F7F79181-87BF-44AE-B828-0B657792DFE7}" dt="2022-05-02T14:56:55.128" v="6621" actId="478"/>
          <ac:cxnSpMkLst>
            <pc:docMk/>
            <pc:sldMk cId="949642342" sldId="773"/>
            <ac:cxnSpMk id="38" creationId="{7C2BBD00-20F3-5020-65DD-8C7A81FFE939}"/>
          </ac:cxnSpMkLst>
        </pc:cxnChg>
        <pc:cxnChg chg="del mod">
          <ac:chgData name="Ricardo Sérgio Souza e Sousa" userId="b2322a61-6b0f-42d2-a39f-a9a5f08999e4" providerId="ADAL" clId="{F7F79181-87BF-44AE-B828-0B657792DFE7}" dt="2022-05-02T14:56:55.128" v="6621" actId="478"/>
          <ac:cxnSpMkLst>
            <pc:docMk/>
            <pc:sldMk cId="949642342" sldId="773"/>
            <ac:cxnSpMk id="41" creationId="{E9269600-2E6D-3D66-126F-B63F2491A836}"/>
          </ac:cxnSpMkLst>
        </pc:cxnChg>
        <pc:cxnChg chg="del mod">
          <ac:chgData name="Ricardo Sérgio Souza e Sousa" userId="b2322a61-6b0f-42d2-a39f-a9a5f08999e4" providerId="ADAL" clId="{F7F79181-87BF-44AE-B828-0B657792DFE7}" dt="2022-05-02T14:56:55.128" v="6621" actId="478"/>
          <ac:cxnSpMkLst>
            <pc:docMk/>
            <pc:sldMk cId="949642342" sldId="773"/>
            <ac:cxnSpMk id="44" creationId="{3CC7427C-030B-370E-FB4D-B0A8E0721C90}"/>
          </ac:cxnSpMkLst>
        </pc:cxnChg>
        <pc:cxnChg chg="del mod">
          <ac:chgData name="Ricardo Sérgio Souza e Sousa" userId="b2322a61-6b0f-42d2-a39f-a9a5f08999e4" providerId="ADAL" clId="{F7F79181-87BF-44AE-B828-0B657792DFE7}" dt="2022-05-02T14:56:55.128" v="6621" actId="478"/>
          <ac:cxnSpMkLst>
            <pc:docMk/>
            <pc:sldMk cId="949642342" sldId="773"/>
            <ac:cxnSpMk id="48" creationId="{B82589EB-8FA0-8EC3-8A17-61CF74679EBC}"/>
          </ac:cxnSpMkLst>
        </pc:cxnChg>
        <pc:cxnChg chg="del mod">
          <ac:chgData name="Ricardo Sérgio Souza e Sousa" userId="b2322a61-6b0f-42d2-a39f-a9a5f08999e4" providerId="ADAL" clId="{F7F79181-87BF-44AE-B828-0B657792DFE7}" dt="2022-05-02T14:56:55.128" v="6621" actId="478"/>
          <ac:cxnSpMkLst>
            <pc:docMk/>
            <pc:sldMk cId="949642342" sldId="773"/>
            <ac:cxnSpMk id="57" creationId="{95730E4D-397B-BF07-BB3D-3380746E0A90}"/>
          </ac:cxnSpMkLst>
        </pc:cxnChg>
      </pc:sldChg>
      <pc:sldChg chg="modSp add del mod">
        <pc:chgData name="Ricardo Sérgio Souza e Sousa" userId="b2322a61-6b0f-42d2-a39f-a9a5f08999e4" providerId="ADAL" clId="{F7F79181-87BF-44AE-B828-0B657792DFE7}" dt="2022-05-17T15:41:53.759" v="9571" actId="47"/>
        <pc:sldMkLst>
          <pc:docMk/>
          <pc:sldMk cId="3896821647" sldId="774"/>
        </pc:sldMkLst>
        <pc:spChg chg="mod">
          <ac:chgData name="Ricardo Sérgio Souza e Sousa" userId="b2322a61-6b0f-42d2-a39f-a9a5f08999e4" providerId="ADAL" clId="{F7F79181-87BF-44AE-B828-0B657792DFE7}" dt="2022-05-02T16:36:37.990" v="7909" actId="20577"/>
          <ac:spMkLst>
            <pc:docMk/>
            <pc:sldMk cId="3896821647" sldId="774"/>
            <ac:spMk id="2" creationId="{00000000-0000-0000-0000-000000000000}"/>
          </ac:spMkLst>
        </pc:spChg>
      </pc:sldChg>
      <pc:sldChg chg="modSp add mod">
        <pc:chgData name="Ricardo Sérgio Souza e Sousa" userId="b2322a61-6b0f-42d2-a39f-a9a5f08999e4" providerId="ADAL" clId="{F7F79181-87BF-44AE-B828-0B657792DFE7}" dt="2022-05-16T18:20:16.711" v="7986" actId="1036"/>
        <pc:sldMkLst>
          <pc:docMk/>
          <pc:sldMk cId="3317530090" sldId="775"/>
        </pc:sldMkLst>
        <pc:spChg chg="mod">
          <ac:chgData name="Ricardo Sérgio Souza e Sousa" userId="b2322a61-6b0f-42d2-a39f-a9a5f08999e4" providerId="ADAL" clId="{F7F79181-87BF-44AE-B828-0B657792DFE7}" dt="2022-05-16T18:20:16.711" v="7986" actId="1036"/>
          <ac:spMkLst>
            <pc:docMk/>
            <pc:sldMk cId="3317530090" sldId="775"/>
            <ac:spMk id="49" creationId="{4DC29E17-998E-72D8-14C2-697949E3D1E5}"/>
          </ac:spMkLst>
        </pc:spChg>
      </pc:sldChg>
      <pc:sldChg chg="add">
        <pc:chgData name="Ricardo Sérgio Souza e Sousa" userId="b2322a61-6b0f-42d2-a39f-a9a5f08999e4" providerId="ADAL" clId="{F7F79181-87BF-44AE-B828-0B657792DFE7}" dt="2022-05-16T18:19:13.365" v="7963"/>
        <pc:sldMkLst>
          <pc:docMk/>
          <pc:sldMk cId="2005786053" sldId="776"/>
        </pc:sldMkLst>
      </pc:sldChg>
      <pc:sldChg chg="addSp delSp modSp add mod">
        <pc:chgData name="Ricardo Sérgio Souza e Sousa" userId="b2322a61-6b0f-42d2-a39f-a9a5f08999e4" providerId="ADAL" clId="{F7F79181-87BF-44AE-B828-0B657792DFE7}" dt="2022-05-16T18:22:31.288" v="8055" actId="1035"/>
        <pc:sldMkLst>
          <pc:docMk/>
          <pc:sldMk cId="3384011889" sldId="777"/>
        </pc:sldMkLst>
        <pc:spChg chg="add del mod">
          <ac:chgData name="Ricardo Sérgio Souza e Sousa" userId="b2322a61-6b0f-42d2-a39f-a9a5f08999e4" providerId="ADAL" clId="{F7F79181-87BF-44AE-B828-0B657792DFE7}" dt="2022-05-16T18:22:31.288" v="8055" actId="1035"/>
          <ac:spMkLst>
            <pc:docMk/>
            <pc:sldMk cId="3384011889" sldId="777"/>
            <ac:spMk id="2" creationId="{14D04352-66E6-0035-B77D-31750A898642}"/>
          </ac:spMkLst>
        </pc:spChg>
      </pc:sldChg>
      <pc:sldChg chg="modSp add mod">
        <pc:chgData name="Ricardo Sérgio Souza e Sousa" userId="b2322a61-6b0f-42d2-a39f-a9a5f08999e4" providerId="ADAL" clId="{F7F79181-87BF-44AE-B828-0B657792DFE7}" dt="2022-05-16T18:22:21.823" v="8050" actId="1035"/>
        <pc:sldMkLst>
          <pc:docMk/>
          <pc:sldMk cId="3327409246" sldId="778"/>
        </pc:sldMkLst>
        <pc:spChg chg="mod">
          <ac:chgData name="Ricardo Sérgio Souza e Sousa" userId="b2322a61-6b0f-42d2-a39f-a9a5f08999e4" providerId="ADAL" clId="{F7F79181-87BF-44AE-B828-0B657792DFE7}" dt="2022-05-16T18:22:21.823" v="8050" actId="1035"/>
          <ac:spMkLst>
            <pc:docMk/>
            <pc:sldMk cId="3327409246" sldId="778"/>
            <ac:spMk id="2" creationId="{41E68D24-D021-7A04-1474-A4FA1A9E6545}"/>
          </ac:spMkLst>
        </pc:spChg>
        <pc:spChg chg="mod">
          <ac:chgData name="Ricardo Sérgio Souza e Sousa" userId="b2322a61-6b0f-42d2-a39f-a9a5f08999e4" providerId="ADAL" clId="{F7F79181-87BF-44AE-B828-0B657792DFE7}" dt="2022-05-16T18:21:46.397" v="8010" actId="1036"/>
          <ac:spMkLst>
            <pc:docMk/>
            <pc:sldMk cId="3327409246" sldId="778"/>
            <ac:spMk id="3" creationId="{B70242D4-3611-B361-4A39-618C9095A631}"/>
          </ac:spMkLst>
        </pc:spChg>
      </pc:sldChg>
      <pc:sldChg chg="modSp add mod">
        <pc:chgData name="Ricardo Sérgio Souza e Sousa" userId="b2322a61-6b0f-42d2-a39f-a9a5f08999e4" providerId="ADAL" clId="{F7F79181-87BF-44AE-B828-0B657792DFE7}" dt="2022-05-16T18:22:13.620" v="8031" actId="1035"/>
        <pc:sldMkLst>
          <pc:docMk/>
          <pc:sldMk cId="3638777543" sldId="779"/>
        </pc:sldMkLst>
        <pc:spChg chg="mod">
          <ac:chgData name="Ricardo Sérgio Souza e Sousa" userId="b2322a61-6b0f-42d2-a39f-a9a5f08999e4" providerId="ADAL" clId="{F7F79181-87BF-44AE-B828-0B657792DFE7}" dt="2022-05-16T18:22:13.620" v="8031" actId="1035"/>
          <ac:spMkLst>
            <pc:docMk/>
            <pc:sldMk cId="3638777543" sldId="779"/>
            <ac:spMk id="3" creationId="{7FE08ED3-EB01-689B-8745-B2A3C19D2677}"/>
          </ac:spMkLst>
        </pc:spChg>
      </pc:sldChg>
      <pc:sldChg chg="modSp add mod">
        <pc:chgData name="Ricardo Sérgio Souza e Sousa" userId="b2322a61-6b0f-42d2-a39f-a9a5f08999e4" providerId="ADAL" clId="{F7F79181-87BF-44AE-B828-0B657792DFE7}" dt="2022-05-16T18:23:41.758" v="8117" actId="1036"/>
        <pc:sldMkLst>
          <pc:docMk/>
          <pc:sldMk cId="4281244039" sldId="780"/>
        </pc:sldMkLst>
        <pc:spChg chg="mod">
          <ac:chgData name="Ricardo Sérgio Souza e Sousa" userId="b2322a61-6b0f-42d2-a39f-a9a5f08999e4" providerId="ADAL" clId="{F7F79181-87BF-44AE-B828-0B657792DFE7}" dt="2022-05-16T18:23:07.936" v="8095" actId="1035"/>
          <ac:spMkLst>
            <pc:docMk/>
            <pc:sldMk cId="4281244039" sldId="780"/>
            <ac:spMk id="2" creationId="{0A8CAAC8-E798-AEF7-6C56-7173516DBE61}"/>
          </ac:spMkLst>
        </pc:spChg>
        <pc:spChg chg="mod">
          <ac:chgData name="Ricardo Sérgio Souza e Sousa" userId="b2322a61-6b0f-42d2-a39f-a9a5f08999e4" providerId="ADAL" clId="{F7F79181-87BF-44AE-B828-0B657792DFE7}" dt="2022-05-16T18:23:41.758" v="8117" actId="1036"/>
          <ac:spMkLst>
            <pc:docMk/>
            <pc:sldMk cId="4281244039" sldId="780"/>
            <ac:spMk id="3" creationId="{BF22334F-71A0-2FCD-7147-BC567D992170}"/>
          </ac:spMkLst>
        </pc:spChg>
      </pc:sldChg>
      <pc:sldChg chg="modSp add mod">
        <pc:chgData name="Ricardo Sérgio Souza e Sousa" userId="b2322a61-6b0f-42d2-a39f-a9a5f08999e4" providerId="ADAL" clId="{F7F79181-87BF-44AE-B828-0B657792DFE7}" dt="2022-05-16T18:24:13.684" v="8134" actId="1038"/>
        <pc:sldMkLst>
          <pc:docMk/>
          <pc:sldMk cId="3053328555" sldId="781"/>
        </pc:sldMkLst>
        <pc:spChg chg="mod">
          <ac:chgData name="Ricardo Sérgio Souza e Sousa" userId="b2322a61-6b0f-42d2-a39f-a9a5f08999e4" providerId="ADAL" clId="{F7F79181-87BF-44AE-B828-0B657792DFE7}" dt="2022-05-16T18:24:13.684" v="8134" actId="1038"/>
          <ac:spMkLst>
            <pc:docMk/>
            <pc:sldMk cId="3053328555" sldId="781"/>
            <ac:spMk id="3" creationId="{F17A886A-EBB1-8F64-760E-CAA565BA09C0}"/>
          </ac:spMkLst>
        </pc:spChg>
        <pc:spChg chg="mod">
          <ac:chgData name="Ricardo Sérgio Souza e Sousa" userId="b2322a61-6b0f-42d2-a39f-a9a5f08999e4" providerId="ADAL" clId="{F7F79181-87BF-44AE-B828-0B657792DFE7}" dt="2022-05-16T18:24:00.275" v="8120" actId="1076"/>
          <ac:spMkLst>
            <pc:docMk/>
            <pc:sldMk cId="3053328555" sldId="781"/>
            <ac:spMk id="4" creationId="{042329D4-5A38-41CD-CA15-A8C93072168E}"/>
          </ac:spMkLst>
        </pc:spChg>
        <pc:spChg chg="mod">
          <ac:chgData name="Ricardo Sérgio Souza e Sousa" userId="b2322a61-6b0f-42d2-a39f-a9a5f08999e4" providerId="ADAL" clId="{F7F79181-87BF-44AE-B828-0B657792DFE7}" dt="2022-05-16T18:23:56.199" v="8119" actId="255"/>
          <ac:spMkLst>
            <pc:docMk/>
            <pc:sldMk cId="3053328555" sldId="781"/>
            <ac:spMk id="5" creationId="{0A8FC30B-DC6B-E5E1-A5F2-1E2209C7E2A1}"/>
          </ac:spMkLst>
        </pc:spChg>
      </pc:sldChg>
      <pc:sldChg chg="modSp add mod">
        <pc:chgData name="Ricardo Sérgio Souza e Sousa" userId="b2322a61-6b0f-42d2-a39f-a9a5f08999e4" providerId="ADAL" clId="{F7F79181-87BF-44AE-B828-0B657792DFE7}" dt="2022-05-16T18:22:50.714" v="8072" actId="1035"/>
        <pc:sldMkLst>
          <pc:docMk/>
          <pc:sldMk cId="2975200491" sldId="782"/>
        </pc:sldMkLst>
        <pc:spChg chg="mod">
          <ac:chgData name="Ricardo Sérgio Souza e Sousa" userId="b2322a61-6b0f-42d2-a39f-a9a5f08999e4" providerId="ADAL" clId="{F7F79181-87BF-44AE-B828-0B657792DFE7}" dt="2022-05-16T18:22:50.714" v="8072" actId="1035"/>
          <ac:spMkLst>
            <pc:docMk/>
            <pc:sldMk cId="2975200491" sldId="782"/>
            <ac:spMk id="4" creationId="{E27F0BC9-844F-0876-0B04-44AF2D32CE04}"/>
          </ac:spMkLst>
        </pc:spChg>
      </pc:sldChg>
      <pc:sldChg chg="modSp add mod">
        <pc:chgData name="Ricardo Sérgio Souza e Sousa" userId="b2322a61-6b0f-42d2-a39f-a9a5f08999e4" providerId="ADAL" clId="{F7F79181-87BF-44AE-B828-0B657792DFE7}" dt="2022-05-16T18:24:27.779" v="8147" actId="1035"/>
        <pc:sldMkLst>
          <pc:docMk/>
          <pc:sldMk cId="2454085429" sldId="783"/>
        </pc:sldMkLst>
        <pc:spChg chg="mod">
          <ac:chgData name="Ricardo Sérgio Souza e Sousa" userId="b2322a61-6b0f-42d2-a39f-a9a5f08999e4" providerId="ADAL" clId="{F7F79181-87BF-44AE-B828-0B657792DFE7}" dt="2022-05-16T18:24:27.779" v="8147" actId="1035"/>
          <ac:spMkLst>
            <pc:docMk/>
            <pc:sldMk cId="2454085429" sldId="783"/>
            <ac:spMk id="2" creationId="{B234C6A8-A50E-5E2B-10B2-647B189987E3}"/>
          </ac:spMkLst>
        </pc:spChg>
      </pc:sldChg>
      <pc:sldChg chg="modSp add mod">
        <pc:chgData name="Ricardo Sérgio Souza e Sousa" userId="b2322a61-6b0f-42d2-a39f-a9a5f08999e4" providerId="ADAL" clId="{F7F79181-87BF-44AE-B828-0B657792DFE7}" dt="2022-05-16T18:24:43.029" v="8155" actId="1036"/>
        <pc:sldMkLst>
          <pc:docMk/>
          <pc:sldMk cId="2653865649" sldId="784"/>
        </pc:sldMkLst>
        <pc:spChg chg="mod">
          <ac:chgData name="Ricardo Sérgio Souza e Sousa" userId="b2322a61-6b0f-42d2-a39f-a9a5f08999e4" providerId="ADAL" clId="{F7F79181-87BF-44AE-B828-0B657792DFE7}" dt="2022-05-16T18:24:43.029" v="8155" actId="1036"/>
          <ac:spMkLst>
            <pc:docMk/>
            <pc:sldMk cId="2653865649" sldId="784"/>
            <ac:spMk id="2" creationId="{B234C6A8-A50E-5E2B-10B2-647B189987E3}"/>
          </ac:spMkLst>
        </pc:spChg>
      </pc:sldChg>
      <pc:sldChg chg="modSp add mod">
        <pc:chgData name="Ricardo Sérgio Souza e Sousa" userId="b2322a61-6b0f-42d2-a39f-a9a5f08999e4" providerId="ADAL" clId="{F7F79181-87BF-44AE-B828-0B657792DFE7}" dt="2022-05-16T18:24:50.854" v="8162" actId="1035"/>
        <pc:sldMkLst>
          <pc:docMk/>
          <pc:sldMk cId="878735503" sldId="785"/>
        </pc:sldMkLst>
        <pc:spChg chg="mod">
          <ac:chgData name="Ricardo Sérgio Souza e Sousa" userId="b2322a61-6b0f-42d2-a39f-a9a5f08999e4" providerId="ADAL" clId="{F7F79181-87BF-44AE-B828-0B657792DFE7}" dt="2022-05-16T18:24:50.854" v="8162" actId="1035"/>
          <ac:spMkLst>
            <pc:docMk/>
            <pc:sldMk cId="878735503" sldId="785"/>
            <ac:spMk id="2" creationId="{B234C6A8-A50E-5E2B-10B2-647B189987E3}"/>
          </ac:spMkLst>
        </pc:spChg>
      </pc:sldChg>
      <pc:sldChg chg="modSp add mod">
        <pc:chgData name="Ricardo Sérgio Souza e Sousa" userId="b2322a61-6b0f-42d2-a39f-a9a5f08999e4" providerId="ADAL" clId="{F7F79181-87BF-44AE-B828-0B657792DFE7}" dt="2022-05-16T18:25:10.763" v="8176" actId="1035"/>
        <pc:sldMkLst>
          <pc:docMk/>
          <pc:sldMk cId="3843587019" sldId="786"/>
        </pc:sldMkLst>
        <pc:spChg chg="mod">
          <ac:chgData name="Ricardo Sérgio Souza e Sousa" userId="b2322a61-6b0f-42d2-a39f-a9a5f08999e4" providerId="ADAL" clId="{F7F79181-87BF-44AE-B828-0B657792DFE7}" dt="2022-05-16T18:25:10.763" v="8176" actId="1035"/>
          <ac:spMkLst>
            <pc:docMk/>
            <pc:sldMk cId="3843587019" sldId="786"/>
            <ac:spMk id="2" creationId="{3BB51E87-41CA-4DDF-79A0-8FD851F8E3A9}"/>
          </ac:spMkLst>
        </pc:spChg>
      </pc:sldChg>
      <pc:sldChg chg="modSp add mod">
        <pc:chgData name="Ricardo Sérgio Souza e Sousa" userId="b2322a61-6b0f-42d2-a39f-a9a5f08999e4" providerId="ADAL" clId="{F7F79181-87BF-44AE-B828-0B657792DFE7}" dt="2022-05-16T18:25:22.920" v="8188" actId="113"/>
        <pc:sldMkLst>
          <pc:docMk/>
          <pc:sldMk cId="3989387911" sldId="787"/>
        </pc:sldMkLst>
        <pc:spChg chg="mod">
          <ac:chgData name="Ricardo Sérgio Souza e Sousa" userId="b2322a61-6b0f-42d2-a39f-a9a5f08999e4" providerId="ADAL" clId="{F7F79181-87BF-44AE-B828-0B657792DFE7}" dt="2022-05-16T18:25:22.920" v="8188" actId="113"/>
          <ac:spMkLst>
            <pc:docMk/>
            <pc:sldMk cId="3989387911" sldId="787"/>
            <ac:spMk id="4" creationId="{9E0DEE06-6598-3B71-36AF-0A240C740F5F}"/>
          </ac:spMkLst>
        </pc:spChg>
      </pc:sldChg>
      <pc:sldChg chg="modSp add mod">
        <pc:chgData name="Ricardo Sérgio Souza e Sousa" userId="b2322a61-6b0f-42d2-a39f-a9a5f08999e4" providerId="ADAL" clId="{F7F79181-87BF-44AE-B828-0B657792DFE7}" dt="2022-05-16T18:25:32.617" v="8195" actId="113"/>
        <pc:sldMkLst>
          <pc:docMk/>
          <pc:sldMk cId="1579277537" sldId="788"/>
        </pc:sldMkLst>
        <pc:spChg chg="mod">
          <ac:chgData name="Ricardo Sérgio Souza e Sousa" userId="b2322a61-6b0f-42d2-a39f-a9a5f08999e4" providerId="ADAL" clId="{F7F79181-87BF-44AE-B828-0B657792DFE7}" dt="2022-05-16T18:25:32.617" v="8195" actId="113"/>
          <ac:spMkLst>
            <pc:docMk/>
            <pc:sldMk cId="1579277537" sldId="788"/>
            <ac:spMk id="2" creationId="{919F72E7-59E6-8033-7DFF-00AB96E470A3}"/>
          </ac:spMkLst>
        </pc:spChg>
      </pc:sldChg>
      <pc:sldChg chg="modSp add mod">
        <pc:chgData name="Ricardo Sérgio Souza e Sousa" userId="b2322a61-6b0f-42d2-a39f-a9a5f08999e4" providerId="ADAL" clId="{F7F79181-87BF-44AE-B828-0B657792DFE7}" dt="2022-05-16T18:25:43.476" v="8203" actId="1035"/>
        <pc:sldMkLst>
          <pc:docMk/>
          <pc:sldMk cId="910924327" sldId="789"/>
        </pc:sldMkLst>
        <pc:spChg chg="mod">
          <ac:chgData name="Ricardo Sérgio Souza e Sousa" userId="b2322a61-6b0f-42d2-a39f-a9a5f08999e4" providerId="ADAL" clId="{F7F79181-87BF-44AE-B828-0B657792DFE7}" dt="2022-05-16T18:25:43.476" v="8203" actId="1035"/>
          <ac:spMkLst>
            <pc:docMk/>
            <pc:sldMk cId="910924327" sldId="789"/>
            <ac:spMk id="2" creationId="{919F72E7-59E6-8033-7DFF-00AB96E470A3}"/>
          </ac:spMkLst>
        </pc:spChg>
      </pc:sldChg>
      <pc:sldChg chg="modSp add mod">
        <pc:chgData name="Ricardo Sérgio Souza e Sousa" userId="b2322a61-6b0f-42d2-a39f-a9a5f08999e4" providerId="ADAL" clId="{F7F79181-87BF-44AE-B828-0B657792DFE7}" dt="2022-05-16T18:25:52.700" v="8212" actId="1035"/>
        <pc:sldMkLst>
          <pc:docMk/>
          <pc:sldMk cId="3115407327" sldId="790"/>
        </pc:sldMkLst>
        <pc:spChg chg="mod">
          <ac:chgData name="Ricardo Sérgio Souza e Sousa" userId="b2322a61-6b0f-42d2-a39f-a9a5f08999e4" providerId="ADAL" clId="{F7F79181-87BF-44AE-B828-0B657792DFE7}" dt="2022-05-16T18:25:52.700" v="8212" actId="1035"/>
          <ac:spMkLst>
            <pc:docMk/>
            <pc:sldMk cId="3115407327" sldId="790"/>
            <ac:spMk id="2" creationId="{919F72E7-59E6-8033-7DFF-00AB96E470A3}"/>
          </ac:spMkLst>
        </pc:spChg>
      </pc:sldChg>
      <pc:sldChg chg="modSp add mod">
        <pc:chgData name="Ricardo Sérgio Souza e Sousa" userId="b2322a61-6b0f-42d2-a39f-a9a5f08999e4" providerId="ADAL" clId="{F7F79181-87BF-44AE-B828-0B657792DFE7}" dt="2022-05-16T18:26:34.257" v="8254" actId="1036"/>
        <pc:sldMkLst>
          <pc:docMk/>
          <pc:sldMk cId="1480203670" sldId="791"/>
        </pc:sldMkLst>
        <pc:spChg chg="mod">
          <ac:chgData name="Ricardo Sérgio Souza e Sousa" userId="b2322a61-6b0f-42d2-a39f-a9a5f08999e4" providerId="ADAL" clId="{F7F79181-87BF-44AE-B828-0B657792DFE7}" dt="2022-05-16T18:26:14.321" v="8245" actId="1035"/>
          <ac:spMkLst>
            <pc:docMk/>
            <pc:sldMk cId="1480203670" sldId="791"/>
            <ac:spMk id="2" creationId="{919F72E7-59E6-8033-7DFF-00AB96E470A3}"/>
          </ac:spMkLst>
        </pc:spChg>
        <pc:spChg chg="mod">
          <ac:chgData name="Ricardo Sérgio Souza e Sousa" userId="b2322a61-6b0f-42d2-a39f-a9a5f08999e4" providerId="ADAL" clId="{F7F79181-87BF-44AE-B828-0B657792DFE7}" dt="2022-05-16T18:26:34.257" v="8254" actId="1036"/>
          <ac:spMkLst>
            <pc:docMk/>
            <pc:sldMk cId="1480203670" sldId="791"/>
            <ac:spMk id="10" creationId="{A36DADDE-58F7-551D-A7A4-C6C9CA9516C1}"/>
          </ac:spMkLst>
        </pc:spChg>
      </pc:sldChg>
      <pc:sldChg chg="modSp add mod">
        <pc:chgData name="Ricardo Sérgio Souza e Sousa" userId="b2322a61-6b0f-42d2-a39f-a9a5f08999e4" providerId="ADAL" clId="{F7F79181-87BF-44AE-B828-0B657792DFE7}" dt="2022-05-16T18:29:48.713" v="8282" actId="14100"/>
        <pc:sldMkLst>
          <pc:docMk/>
          <pc:sldMk cId="707943874" sldId="792"/>
        </pc:sldMkLst>
        <pc:spChg chg="mod">
          <ac:chgData name="Ricardo Sérgio Souza e Sousa" userId="b2322a61-6b0f-42d2-a39f-a9a5f08999e4" providerId="ADAL" clId="{F7F79181-87BF-44AE-B828-0B657792DFE7}" dt="2022-05-16T18:27:17.229" v="8266" actId="1035"/>
          <ac:spMkLst>
            <pc:docMk/>
            <pc:sldMk cId="707943874" sldId="792"/>
            <ac:spMk id="2" creationId="{919F72E7-59E6-8033-7DFF-00AB96E470A3}"/>
          </ac:spMkLst>
        </pc:spChg>
        <pc:spChg chg="mod">
          <ac:chgData name="Ricardo Sérgio Souza e Sousa" userId="b2322a61-6b0f-42d2-a39f-a9a5f08999e4" providerId="ADAL" clId="{F7F79181-87BF-44AE-B828-0B657792DFE7}" dt="2022-05-16T18:29:48.713" v="8282" actId="14100"/>
          <ac:spMkLst>
            <pc:docMk/>
            <pc:sldMk cId="707943874" sldId="792"/>
            <ac:spMk id="10" creationId="{A36DADDE-58F7-551D-A7A4-C6C9CA9516C1}"/>
          </ac:spMkLst>
        </pc:spChg>
      </pc:sldChg>
      <pc:sldChg chg="add">
        <pc:chgData name="Ricardo Sérgio Souza e Sousa" userId="b2322a61-6b0f-42d2-a39f-a9a5f08999e4" providerId="ADAL" clId="{F7F79181-87BF-44AE-B828-0B657792DFE7}" dt="2022-05-13T11:06:12.704" v="7940"/>
        <pc:sldMkLst>
          <pc:docMk/>
          <pc:sldMk cId="4084062883" sldId="819"/>
        </pc:sldMkLst>
      </pc:sldChg>
      <pc:sldChg chg="add del">
        <pc:chgData name="Ricardo Sérgio Souza e Sousa" userId="b2322a61-6b0f-42d2-a39f-a9a5f08999e4" providerId="ADAL" clId="{F7F79181-87BF-44AE-B828-0B657792DFE7}" dt="2022-05-13T11:09:13.391" v="7958" actId="47"/>
        <pc:sldMkLst>
          <pc:docMk/>
          <pc:sldMk cId="1899422329" sldId="1803"/>
        </pc:sldMkLst>
      </pc:sldChg>
      <pc:sldChg chg="add modNotes">
        <pc:chgData name="Ricardo Sérgio Souza e Sousa" userId="b2322a61-6b0f-42d2-a39f-a9a5f08999e4" providerId="ADAL" clId="{F7F79181-87BF-44AE-B828-0B657792DFE7}" dt="2022-05-13T11:06:12.942" v="7942" actId="27636"/>
        <pc:sldMkLst>
          <pc:docMk/>
          <pc:sldMk cId="2560038232" sldId="1821"/>
        </pc:sldMkLst>
      </pc:sldChg>
      <pc:sldChg chg="add">
        <pc:chgData name="Ricardo Sérgio Souza e Sousa" userId="b2322a61-6b0f-42d2-a39f-a9a5f08999e4" providerId="ADAL" clId="{F7F79181-87BF-44AE-B828-0B657792DFE7}" dt="2022-05-13T11:06:12.704" v="7940"/>
        <pc:sldMkLst>
          <pc:docMk/>
          <pc:sldMk cId="3586176904" sldId="1859"/>
        </pc:sldMkLst>
      </pc:sldChg>
      <pc:sldChg chg="add del">
        <pc:chgData name="Ricardo Sérgio Souza e Sousa" userId="b2322a61-6b0f-42d2-a39f-a9a5f08999e4" providerId="ADAL" clId="{F7F79181-87BF-44AE-B828-0B657792DFE7}" dt="2022-05-13T11:08:50.674" v="7955" actId="47"/>
        <pc:sldMkLst>
          <pc:docMk/>
          <pc:sldMk cId="1208192795" sldId="1990"/>
        </pc:sldMkLst>
      </pc:sldChg>
      <pc:sldChg chg="add modNotes">
        <pc:chgData name="Ricardo Sérgio Souza e Sousa" userId="b2322a61-6b0f-42d2-a39f-a9a5f08999e4" providerId="ADAL" clId="{F7F79181-87BF-44AE-B828-0B657792DFE7}" dt="2022-05-13T11:06:13.081" v="7946" actId="27636"/>
        <pc:sldMkLst>
          <pc:docMk/>
          <pc:sldMk cId="2460929318" sldId="2037"/>
        </pc:sldMkLst>
      </pc:sldChg>
      <pc:sldChg chg="add del">
        <pc:chgData name="Ricardo Sérgio Souza e Sousa" userId="b2322a61-6b0f-42d2-a39f-a9a5f08999e4" providerId="ADAL" clId="{F7F79181-87BF-44AE-B828-0B657792DFE7}" dt="2022-05-13T11:09:21.474" v="7959" actId="47"/>
        <pc:sldMkLst>
          <pc:docMk/>
          <pc:sldMk cId="4093329435" sldId="3344"/>
        </pc:sldMkLst>
      </pc:sldChg>
      <pc:sldChg chg="add modNotes">
        <pc:chgData name="Ricardo Sérgio Souza e Sousa" userId="b2322a61-6b0f-42d2-a39f-a9a5f08999e4" providerId="ADAL" clId="{F7F79181-87BF-44AE-B828-0B657792DFE7}" dt="2022-05-13T11:06:12.911" v="7941" actId="27636"/>
        <pc:sldMkLst>
          <pc:docMk/>
          <pc:sldMk cId="2784584908" sldId="3399"/>
        </pc:sldMkLst>
      </pc:sldChg>
      <pc:sldChg chg="add del modNotes">
        <pc:chgData name="Ricardo Sérgio Souza e Sousa" userId="b2322a61-6b0f-42d2-a39f-a9a5f08999e4" providerId="ADAL" clId="{F7F79181-87BF-44AE-B828-0B657792DFE7}" dt="2022-05-13T11:07:22.563" v="7952" actId="47"/>
        <pc:sldMkLst>
          <pc:docMk/>
          <pc:sldMk cId="1792895049" sldId="16575"/>
        </pc:sldMkLst>
      </pc:sldChg>
      <pc:sldChg chg="add modNotes">
        <pc:chgData name="Ricardo Sérgio Souza e Sousa" userId="b2322a61-6b0f-42d2-a39f-a9a5f08999e4" providerId="ADAL" clId="{F7F79181-87BF-44AE-B828-0B657792DFE7}" dt="2022-05-13T11:06:13.055" v="7945" actId="27636"/>
        <pc:sldMkLst>
          <pc:docMk/>
          <pc:sldMk cId="566147137" sldId="16648"/>
        </pc:sldMkLst>
      </pc:sldChg>
      <pc:sldChg chg="add">
        <pc:chgData name="Ricardo Sérgio Souza e Sousa" userId="b2322a61-6b0f-42d2-a39f-a9a5f08999e4" providerId="ADAL" clId="{F7F79181-87BF-44AE-B828-0B657792DFE7}" dt="2022-05-13T11:06:12.704" v="7940"/>
        <pc:sldMkLst>
          <pc:docMk/>
          <pc:sldMk cId="2080258575" sldId="16649"/>
        </pc:sldMkLst>
      </pc:sldChg>
      <pc:sldChg chg="add modNotes">
        <pc:chgData name="Ricardo Sérgio Souza e Sousa" userId="b2322a61-6b0f-42d2-a39f-a9a5f08999e4" providerId="ADAL" clId="{F7F79181-87BF-44AE-B828-0B657792DFE7}" dt="2022-05-13T11:06:13.041" v="7944" actId="27636"/>
        <pc:sldMkLst>
          <pc:docMk/>
          <pc:sldMk cId="2509880796" sldId="16651"/>
        </pc:sldMkLst>
      </pc:sldChg>
      <pc:sldChg chg="add">
        <pc:chgData name="Ricardo Sérgio Souza e Sousa" userId="b2322a61-6b0f-42d2-a39f-a9a5f08999e4" providerId="ADAL" clId="{F7F79181-87BF-44AE-B828-0B657792DFE7}" dt="2022-05-13T11:06:12.704" v="7940"/>
        <pc:sldMkLst>
          <pc:docMk/>
          <pc:sldMk cId="4222207526" sldId="16652"/>
        </pc:sldMkLst>
      </pc:sldChg>
      <pc:sldChg chg="add">
        <pc:chgData name="Ricardo Sérgio Souza e Sousa" userId="b2322a61-6b0f-42d2-a39f-a9a5f08999e4" providerId="ADAL" clId="{F7F79181-87BF-44AE-B828-0B657792DFE7}" dt="2022-05-13T11:06:12.704" v="7940"/>
        <pc:sldMkLst>
          <pc:docMk/>
          <pc:sldMk cId="525444204" sldId="16653"/>
        </pc:sldMkLst>
      </pc:sldChg>
      <pc:sldChg chg="add del">
        <pc:chgData name="Ricardo Sérgio Souza e Sousa" userId="b2322a61-6b0f-42d2-a39f-a9a5f08999e4" providerId="ADAL" clId="{F7F79181-87BF-44AE-B828-0B657792DFE7}" dt="2022-05-13T11:09:06.260" v="7957" actId="47"/>
        <pc:sldMkLst>
          <pc:docMk/>
          <pc:sldMk cId="2755432391" sldId="16654"/>
        </pc:sldMkLst>
      </pc:sldChg>
      <pc:sldChg chg="add">
        <pc:chgData name="Ricardo Sérgio Souza e Sousa" userId="b2322a61-6b0f-42d2-a39f-a9a5f08999e4" providerId="ADAL" clId="{F7F79181-87BF-44AE-B828-0B657792DFE7}" dt="2022-05-13T11:06:12.704" v="7940"/>
        <pc:sldMkLst>
          <pc:docMk/>
          <pc:sldMk cId="3497854217" sldId="16655"/>
        </pc:sldMkLst>
      </pc:sldChg>
      <pc:sldChg chg="add modNotes">
        <pc:chgData name="Ricardo Sérgio Souza e Sousa" userId="b2322a61-6b0f-42d2-a39f-a9a5f08999e4" providerId="ADAL" clId="{F7F79181-87BF-44AE-B828-0B657792DFE7}" dt="2022-05-13T11:06:13.093" v="7947" actId="27636"/>
        <pc:sldMkLst>
          <pc:docMk/>
          <pc:sldMk cId="2408778757" sldId="16656"/>
        </pc:sldMkLst>
      </pc:sldChg>
      <pc:sldChg chg="add del">
        <pc:chgData name="Ricardo Sérgio Souza e Sousa" userId="b2322a61-6b0f-42d2-a39f-a9a5f08999e4" providerId="ADAL" clId="{F7F79181-87BF-44AE-B828-0B657792DFE7}" dt="2022-05-13T11:07:15.239" v="7951" actId="47"/>
        <pc:sldMkLst>
          <pc:docMk/>
          <pc:sldMk cId="66552722" sldId="16657"/>
        </pc:sldMkLst>
      </pc:sldChg>
      <pc:sldChg chg="add del">
        <pc:chgData name="Ricardo Sérgio Souza e Sousa" userId="b2322a61-6b0f-42d2-a39f-a9a5f08999e4" providerId="ADAL" clId="{F7F79181-87BF-44AE-B828-0B657792DFE7}" dt="2022-05-13T11:07:25.500" v="7954" actId="47"/>
        <pc:sldMkLst>
          <pc:docMk/>
          <pc:sldMk cId="3301214934" sldId="16658"/>
        </pc:sldMkLst>
      </pc:sldChg>
      <pc:sldChg chg="add del">
        <pc:chgData name="Ricardo Sérgio Souza e Sousa" userId="b2322a61-6b0f-42d2-a39f-a9a5f08999e4" providerId="ADAL" clId="{F7F79181-87BF-44AE-B828-0B657792DFE7}" dt="2022-05-13T11:09:01.067" v="7956" actId="47"/>
        <pc:sldMkLst>
          <pc:docMk/>
          <pc:sldMk cId="2422220818" sldId="16659"/>
        </pc:sldMkLst>
      </pc:sldChg>
      <pc:sldChg chg="add">
        <pc:chgData name="Ricardo Sérgio Souza e Sousa" userId="b2322a61-6b0f-42d2-a39f-a9a5f08999e4" providerId="ADAL" clId="{F7F79181-87BF-44AE-B828-0B657792DFE7}" dt="2022-05-13T11:06:12.704" v="7940"/>
        <pc:sldMkLst>
          <pc:docMk/>
          <pc:sldMk cId="855615106" sldId="16661"/>
        </pc:sldMkLst>
      </pc:sldChg>
      <pc:sldChg chg="add">
        <pc:chgData name="Ricardo Sérgio Souza e Sousa" userId="b2322a61-6b0f-42d2-a39f-a9a5f08999e4" providerId="ADAL" clId="{F7F79181-87BF-44AE-B828-0B657792DFE7}" dt="2022-05-13T11:06:12.704" v="7940"/>
        <pc:sldMkLst>
          <pc:docMk/>
          <pc:sldMk cId="3632761607" sldId="16675"/>
        </pc:sldMkLst>
      </pc:sldChg>
      <pc:sldChg chg="modSp add mod">
        <pc:chgData name="Ricardo Sérgio Souza e Sousa" userId="b2322a61-6b0f-42d2-a39f-a9a5f08999e4" providerId="ADAL" clId="{F7F79181-87BF-44AE-B828-0B657792DFE7}" dt="2022-05-13T11:05:11.289" v="7939" actId="207"/>
        <pc:sldMkLst>
          <pc:docMk/>
          <pc:sldMk cId="666939263" sldId="16676"/>
        </pc:sldMkLst>
        <pc:spChg chg="mod">
          <ac:chgData name="Ricardo Sérgio Souza e Sousa" userId="b2322a61-6b0f-42d2-a39f-a9a5f08999e4" providerId="ADAL" clId="{F7F79181-87BF-44AE-B828-0B657792DFE7}" dt="2022-05-13T11:05:11.289" v="7939" actId="207"/>
          <ac:spMkLst>
            <pc:docMk/>
            <pc:sldMk cId="666939263" sldId="16676"/>
            <ac:spMk id="69" creationId="{A2EBACCC-0374-8646-8E7A-0BB92B48FFC8}"/>
          </ac:spMkLst>
        </pc:spChg>
      </pc:sldChg>
      <pc:sldChg chg="add">
        <pc:chgData name="Ricardo Sérgio Souza e Sousa" userId="b2322a61-6b0f-42d2-a39f-a9a5f08999e4" providerId="ADAL" clId="{F7F79181-87BF-44AE-B828-0B657792DFE7}" dt="2022-05-16T18:19:13.365" v="7963"/>
        <pc:sldMkLst>
          <pc:docMk/>
          <pc:sldMk cId="46510892" sldId="16677"/>
        </pc:sldMkLst>
      </pc:sldChg>
      <pc:sldChg chg="delSp modSp add mod">
        <pc:chgData name="Ricardo Sérgio Souza e Sousa" userId="b2322a61-6b0f-42d2-a39f-a9a5f08999e4" providerId="ADAL" clId="{F7F79181-87BF-44AE-B828-0B657792DFE7}" dt="2022-05-17T15:47:32.364" v="9805" actId="20577"/>
        <pc:sldMkLst>
          <pc:docMk/>
          <pc:sldMk cId="2113124425" sldId="16678"/>
        </pc:sldMkLst>
        <pc:spChg chg="mod">
          <ac:chgData name="Ricardo Sérgio Souza e Sousa" userId="b2322a61-6b0f-42d2-a39f-a9a5f08999e4" providerId="ADAL" clId="{F7F79181-87BF-44AE-B828-0B657792DFE7}" dt="2022-05-17T15:47:32.364" v="9805" actId="20577"/>
          <ac:spMkLst>
            <pc:docMk/>
            <pc:sldMk cId="2113124425" sldId="16678"/>
            <ac:spMk id="8" creationId="{C1B9D129-07C7-4EB0-BC65-76BDBD9F544B}"/>
          </ac:spMkLst>
        </pc:spChg>
        <pc:spChg chg="mod">
          <ac:chgData name="Ricardo Sérgio Souza e Sousa" userId="b2322a61-6b0f-42d2-a39f-a9a5f08999e4" providerId="ADAL" clId="{F7F79181-87BF-44AE-B828-0B657792DFE7}" dt="2022-05-17T14:10:48.513" v="8885" actId="20577"/>
          <ac:spMkLst>
            <pc:docMk/>
            <pc:sldMk cId="2113124425" sldId="16678"/>
            <ac:spMk id="9" creationId="{25C1234C-9AD2-45FA-D4AC-C49B087EA928}"/>
          </ac:spMkLst>
        </pc:spChg>
        <pc:picChg chg="del">
          <ac:chgData name="Ricardo Sérgio Souza e Sousa" userId="b2322a61-6b0f-42d2-a39f-a9a5f08999e4" providerId="ADAL" clId="{F7F79181-87BF-44AE-B828-0B657792DFE7}" dt="2022-05-17T14:10:58.162" v="8887" actId="478"/>
          <ac:picMkLst>
            <pc:docMk/>
            <pc:sldMk cId="2113124425" sldId="16678"/>
            <ac:picMk id="3" creationId="{A65F1B4B-E4E4-4510-9ECE-C00D92A7707B}"/>
          </ac:picMkLst>
        </pc:picChg>
      </pc:sldChg>
      <pc:sldChg chg="modSp add del mod">
        <pc:chgData name="Ricardo Sérgio Souza e Sousa" userId="b2322a61-6b0f-42d2-a39f-a9a5f08999e4" providerId="ADAL" clId="{F7F79181-87BF-44AE-B828-0B657792DFE7}" dt="2022-05-17T14:33:40.511" v="9223" actId="47"/>
        <pc:sldMkLst>
          <pc:docMk/>
          <pc:sldMk cId="1594188822" sldId="16679"/>
        </pc:sldMkLst>
        <pc:spChg chg="mod">
          <ac:chgData name="Ricardo Sérgio Souza e Sousa" userId="b2322a61-6b0f-42d2-a39f-a9a5f08999e4" providerId="ADAL" clId="{F7F79181-87BF-44AE-B828-0B657792DFE7}" dt="2022-05-17T14:30:55.248" v="9161" actId="20577"/>
          <ac:spMkLst>
            <pc:docMk/>
            <pc:sldMk cId="1594188822" sldId="16679"/>
            <ac:spMk id="5" creationId="{B6CDB543-2901-4148-99DA-E4521367FD23}"/>
          </ac:spMkLst>
        </pc:spChg>
        <pc:spChg chg="mod">
          <ac:chgData name="Ricardo Sérgio Souza e Sousa" userId="b2322a61-6b0f-42d2-a39f-a9a5f08999e4" providerId="ADAL" clId="{F7F79181-87BF-44AE-B828-0B657792DFE7}" dt="2022-05-17T14:30:47.550" v="9141"/>
          <ac:spMkLst>
            <pc:docMk/>
            <pc:sldMk cId="1594188822" sldId="16679"/>
            <ac:spMk id="35842" creationId="{00000000-0000-0000-0000-000000000000}"/>
          </ac:spMkLst>
        </pc:spChg>
        <pc:spChg chg="mod">
          <ac:chgData name="Ricardo Sérgio Souza e Sousa" userId="b2322a61-6b0f-42d2-a39f-a9a5f08999e4" providerId="ADAL" clId="{F7F79181-87BF-44AE-B828-0B657792DFE7}" dt="2022-05-17T14:31:33.529" v="9208" actId="14100"/>
          <ac:spMkLst>
            <pc:docMk/>
            <pc:sldMk cId="1594188822" sldId="16679"/>
            <ac:spMk id="35844" creationId="{00000000-0000-0000-0000-000000000000}"/>
          </ac:spMkLst>
        </pc:spChg>
        <pc:grpChg chg="mod">
          <ac:chgData name="Ricardo Sérgio Souza e Sousa" userId="b2322a61-6b0f-42d2-a39f-a9a5f08999e4" providerId="ADAL" clId="{F7F79181-87BF-44AE-B828-0B657792DFE7}" dt="2022-05-17T14:30:47.550" v="9141"/>
          <ac:grpSpMkLst>
            <pc:docMk/>
            <pc:sldMk cId="1594188822" sldId="16679"/>
            <ac:grpSpMk id="1" creationId="{00000000-0000-0000-0000-000000000000}"/>
          </ac:grpSpMkLst>
        </pc:grpChg>
        <pc:graphicFrameChg chg="mod">
          <ac:chgData name="Ricardo Sérgio Souza e Sousa" userId="b2322a61-6b0f-42d2-a39f-a9a5f08999e4" providerId="ADAL" clId="{F7F79181-87BF-44AE-B828-0B657792DFE7}" dt="2022-05-17T14:33:36.701" v="9222"/>
          <ac:graphicFrameMkLst>
            <pc:docMk/>
            <pc:sldMk cId="1594188822" sldId="16679"/>
            <ac:graphicFrameMk id="2" creationId="{85983C6E-FB20-4DE9-BC4C-E3854E851A56}"/>
          </ac:graphicFrameMkLst>
        </pc:graphicFrameChg>
      </pc:sldChg>
      <pc:sldChg chg="modSp add mod">
        <pc:chgData name="Ricardo Sérgio Souza e Sousa" userId="b2322a61-6b0f-42d2-a39f-a9a5f08999e4" providerId="ADAL" clId="{F7F79181-87BF-44AE-B828-0B657792DFE7}" dt="2022-05-17T14:32:26.127" v="9218" actId="20577"/>
        <pc:sldMkLst>
          <pc:docMk/>
          <pc:sldMk cId="2196981727" sldId="16680"/>
        </pc:sldMkLst>
        <pc:spChg chg="mod">
          <ac:chgData name="Ricardo Sérgio Souza e Sousa" userId="b2322a61-6b0f-42d2-a39f-a9a5f08999e4" providerId="ADAL" clId="{F7F79181-87BF-44AE-B828-0B657792DFE7}" dt="2022-05-17T14:32:26.127" v="9218" actId="20577"/>
          <ac:spMkLst>
            <pc:docMk/>
            <pc:sldMk cId="2196981727" sldId="16680"/>
            <ac:spMk id="5" creationId="{B6CDB543-2901-4148-99DA-E4521367FD23}"/>
          </ac:spMkLst>
        </pc:spChg>
      </pc:sldChg>
      <pc:sldChg chg="add">
        <pc:chgData name="Ricardo Sérgio Souza e Sousa" userId="b2322a61-6b0f-42d2-a39f-a9a5f08999e4" providerId="ADAL" clId="{F7F79181-87BF-44AE-B828-0B657792DFE7}" dt="2022-05-17T14:34:15.864" v="9226"/>
        <pc:sldMkLst>
          <pc:docMk/>
          <pc:sldMk cId="491856847" sldId="16681"/>
        </pc:sldMkLst>
      </pc:sldChg>
      <pc:sldChg chg="modSp add mod">
        <pc:chgData name="Ricardo Sérgio Souza e Sousa" userId="b2322a61-6b0f-42d2-a39f-a9a5f08999e4" providerId="ADAL" clId="{F7F79181-87BF-44AE-B828-0B657792DFE7}" dt="2022-05-17T17:55:36.085" v="9912" actId="20577"/>
        <pc:sldMkLst>
          <pc:docMk/>
          <pc:sldMk cId="3462309141" sldId="16682"/>
        </pc:sldMkLst>
        <pc:spChg chg="mod">
          <ac:chgData name="Ricardo Sérgio Souza e Sousa" userId="b2322a61-6b0f-42d2-a39f-a9a5f08999e4" providerId="ADAL" clId="{F7F79181-87BF-44AE-B828-0B657792DFE7}" dt="2022-05-17T14:41:33.803" v="9439"/>
          <ac:spMkLst>
            <pc:docMk/>
            <pc:sldMk cId="3462309141" sldId="16682"/>
            <ac:spMk id="7" creationId="{CC55BEE0-154A-44D2-8C51-6EFB4BC51A8E}"/>
          </ac:spMkLst>
        </pc:spChg>
        <pc:spChg chg="mod">
          <ac:chgData name="Ricardo Sérgio Souza e Sousa" userId="b2322a61-6b0f-42d2-a39f-a9a5f08999e4" providerId="ADAL" clId="{F7F79181-87BF-44AE-B828-0B657792DFE7}" dt="2022-05-17T17:55:36.085" v="9912" actId="20577"/>
          <ac:spMkLst>
            <pc:docMk/>
            <pc:sldMk cId="3462309141" sldId="16682"/>
            <ac:spMk id="8" creationId="{C1B9D129-07C7-4EB0-BC65-76BDBD9F544B}"/>
          </ac:spMkLst>
        </pc:spChg>
        <pc:spChg chg="mod">
          <ac:chgData name="Ricardo Sérgio Souza e Sousa" userId="b2322a61-6b0f-42d2-a39f-a9a5f08999e4" providerId="ADAL" clId="{F7F79181-87BF-44AE-B828-0B657792DFE7}" dt="2022-05-17T14:41:33.803" v="9439"/>
          <ac:spMkLst>
            <pc:docMk/>
            <pc:sldMk cId="3462309141" sldId="16682"/>
            <ac:spMk id="9" creationId="{25C1234C-9AD2-45FA-D4AC-C49B087EA928}"/>
          </ac:spMkLst>
        </pc:spChg>
        <pc:grpChg chg="mod">
          <ac:chgData name="Ricardo Sérgio Souza e Sousa" userId="b2322a61-6b0f-42d2-a39f-a9a5f08999e4" providerId="ADAL" clId="{F7F79181-87BF-44AE-B828-0B657792DFE7}" dt="2022-05-17T14:41:33.803" v="9439"/>
          <ac:grpSpMkLst>
            <pc:docMk/>
            <pc:sldMk cId="3462309141" sldId="16682"/>
            <ac:grpSpMk id="1" creationId="{00000000-0000-0000-0000-000000000000}"/>
          </ac:grpSpMkLst>
        </pc:grpChg>
        <pc:graphicFrameChg chg="mod">
          <ac:chgData name="Ricardo Sérgio Souza e Sousa" userId="b2322a61-6b0f-42d2-a39f-a9a5f08999e4" providerId="ADAL" clId="{F7F79181-87BF-44AE-B828-0B657792DFE7}" dt="2022-05-17T14:41:33.803" v="9439"/>
          <ac:graphicFrameMkLst>
            <pc:docMk/>
            <pc:sldMk cId="3462309141" sldId="16682"/>
            <ac:graphicFrameMk id="6" creationId="{8B601643-B97A-23B3-EC5B-6B82EF2F7175}"/>
          </ac:graphicFrameMkLst>
        </pc:graphicFrameChg>
      </pc:sldChg>
      <pc:sldChg chg="modSp add mod ord">
        <pc:chgData name="Ricardo Sérgio Souza e Sousa" userId="b2322a61-6b0f-42d2-a39f-a9a5f08999e4" providerId="ADAL" clId="{F7F79181-87BF-44AE-B828-0B657792DFE7}" dt="2022-05-17T17:56:32.809" v="9933" actId="20577"/>
        <pc:sldMkLst>
          <pc:docMk/>
          <pc:sldMk cId="3497553340" sldId="16683"/>
        </pc:sldMkLst>
        <pc:spChg chg="mod">
          <ac:chgData name="Ricardo Sérgio Souza e Sousa" userId="b2322a61-6b0f-42d2-a39f-a9a5f08999e4" providerId="ADAL" clId="{F7F79181-87BF-44AE-B828-0B657792DFE7}" dt="2022-05-17T17:56:32.809" v="9933" actId="20577"/>
          <ac:spMkLst>
            <pc:docMk/>
            <pc:sldMk cId="3497553340" sldId="16683"/>
            <ac:spMk id="2" creationId="{00000000-0000-0000-0000-000000000000}"/>
          </ac:spMkLst>
        </pc:spChg>
      </pc:sldChg>
      <pc:sldChg chg="add del">
        <pc:chgData name="Ricardo Sérgio Souza e Sousa" userId="b2322a61-6b0f-42d2-a39f-a9a5f08999e4" providerId="ADAL" clId="{F7F79181-87BF-44AE-B828-0B657792DFE7}" dt="2022-05-17T15:41:28.122" v="9565"/>
        <pc:sldMkLst>
          <pc:docMk/>
          <pc:sldMk cId="2459885515" sldId="16684"/>
        </pc:sldMkLst>
      </pc:sldChg>
      <pc:sldChg chg="add">
        <pc:chgData name="Ricardo Sérgio Souza e Sousa" userId="b2322a61-6b0f-42d2-a39f-a9a5f08999e4" providerId="ADAL" clId="{F7F79181-87BF-44AE-B828-0B657792DFE7}" dt="2022-05-17T17:58:28.263" v="9941"/>
        <pc:sldMkLst>
          <pc:docMk/>
          <pc:sldMk cId="4226471936" sldId="16684"/>
        </pc:sldMkLst>
      </pc:sldChg>
      <pc:sldChg chg="modSp mod">
        <pc:chgData name="Ricardo Sérgio Souza e Sousa" userId="b2322a61-6b0f-42d2-a39f-a9a5f08999e4" providerId="ADAL" clId="{F7F79181-87BF-44AE-B828-0B657792DFE7}" dt="2022-05-20T17:01:14.643" v="10829" actId="20577"/>
        <pc:sldMkLst>
          <pc:docMk/>
          <pc:sldMk cId="3929920353" sldId="16686"/>
        </pc:sldMkLst>
        <pc:spChg chg="mod">
          <ac:chgData name="Ricardo Sérgio Souza e Sousa" userId="b2322a61-6b0f-42d2-a39f-a9a5f08999e4" providerId="ADAL" clId="{F7F79181-87BF-44AE-B828-0B657792DFE7}" dt="2022-05-20T17:01:14.643" v="10829" actId="20577"/>
          <ac:spMkLst>
            <pc:docMk/>
            <pc:sldMk cId="3929920353" sldId="16686"/>
            <ac:spMk id="8" creationId="{BBE3E93D-1957-7EE7-89FA-DA3FB2806230}"/>
          </ac:spMkLst>
        </pc:spChg>
      </pc:sldChg>
      <pc:sldChg chg="addSp delSp modSp mod">
        <pc:chgData name="Ricardo Sérgio Souza e Sousa" userId="b2322a61-6b0f-42d2-a39f-a9a5f08999e4" providerId="ADAL" clId="{F7F79181-87BF-44AE-B828-0B657792DFE7}" dt="2022-05-20T17:02:28.629" v="10846" actId="15"/>
        <pc:sldMkLst>
          <pc:docMk/>
          <pc:sldMk cId="3100852214" sldId="16687"/>
        </pc:sldMkLst>
        <pc:spChg chg="add del mod">
          <ac:chgData name="Ricardo Sérgio Souza e Sousa" userId="b2322a61-6b0f-42d2-a39f-a9a5f08999e4" providerId="ADAL" clId="{F7F79181-87BF-44AE-B828-0B657792DFE7}" dt="2022-05-20T17:02:28.629" v="10846" actId="15"/>
          <ac:spMkLst>
            <pc:docMk/>
            <pc:sldMk cId="3100852214" sldId="16687"/>
            <ac:spMk id="4" creationId="{395E37A2-64A8-D703-6FC3-820D6221D558}"/>
          </ac:spMkLst>
        </pc:spChg>
      </pc:sldChg>
      <pc:sldChg chg="addSp delSp modSp add del mod">
        <pc:chgData name="Ricardo Sérgio Souza e Sousa" userId="b2322a61-6b0f-42d2-a39f-a9a5f08999e4" providerId="ADAL" clId="{F7F79181-87BF-44AE-B828-0B657792DFE7}" dt="2022-05-20T17:02:47.324" v="10851"/>
        <pc:sldMkLst>
          <pc:docMk/>
          <pc:sldMk cId="4033710926" sldId="16689"/>
        </pc:sldMkLst>
        <pc:spChg chg="del">
          <ac:chgData name="Ricardo Sérgio Souza e Sousa" userId="b2322a61-6b0f-42d2-a39f-a9a5f08999e4" providerId="ADAL" clId="{F7F79181-87BF-44AE-B828-0B657792DFE7}" dt="2022-05-20T17:02:45.172" v="10850" actId="21"/>
          <ac:spMkLst>
            <pc:docMk/>
            <pc:sldMk cId="4033710926" sldId="16689"/>
            <ac:spMk id="4" creationId="{395E37A2-64A8-D703-6FC3-820D6221D558}"/>
          </ac:spMkLst>
        </pc:spChg>
        <pc:spChg chg="add mod">
          <ac:chgData name="Ricardo Sérgio Souza e Sousa" userId="b2322a61-6b0f-42d2-a39f-a9a5f08999e4" providerId="ADAL" clId="{F7F79181-87BF-44AE-B828-0B657792DFE7}" dt="2022-05-20T17:02:47.324" v="10851"/>
          <ac:spMkLst>
            <pc:docMk/>
            <pc:sldMk cId="4033710926" sldId="16689"/>
            <ac:spMk id="5" creationId="{11736BA4-A92C-777F-370B-72A336CB534D}"/>
          </ac:spMkLst>
        </pc:spChg>
      </pc:sldChg>
      <pc:sldMasterChg chg="delSldLayout modSldLayout">
        <pc:chgData name="Ricardo Sérgio Souza e Sousa" userId="b2322a61-6b0f-42d2-a39f-a9a5f08999e4" providerId="ADAL" clId="{F7F79181-87BF-44AE-B828-0B657792DFE7}" dt="2022-05-13T11:09:32.014" v="7960" actId="47"/>
        <pc:sldMasterMkLst>
          <pc:docMk/>
          <pc:sldMasterMk cId="2158362490" sldId="2147483660"/>
        </pc:sldMasterMkLst>
        <pc:sldLayoutChg chg="modSp mod">
          <pc:chgData name="Ricardo Sérgio Souza e Sousa" userId="b2322a61-6b0f-42d2-a39f-a9a5f08999e4" providerId="ADAL" clId="{F7F79181-87BF-44AE-B828-0B657792DFE7}" dt="2022-04-28T11:57:56.238" v="346" actId="1035"/>
          <pc:sldLayoutMkLst>
            <pc:docMk/>
            <pc:sldMasterMk cId="2158362490" sldId="2147483660"/>
            <pc:sldLayoutMk cId="953706099" sldId="2147483663"/>
          </pc:sldLayoutMkLst>
          <pc:cxnChg chg="mod">
            <ac:chgData name="Ricardo Sérgio Souza e Sousa" userId="b2322a61-6b0f-42d2-a39f-a9a5f08999e4" providerId="ADAL" clId="{F7F79181-87BF-44AE-B828-0B657792DFE7}" dt="2022-04-28T11:57:56.238" v="346" actId="1035"/>
            <ac:cxnSpMkLst>
              <pc:docMk/>
              <pc:sldMasterMk cId="2158362490" sldId="2147483660"/>
              <pc:sldLayoutMk cId="953706099" sldId="2147483663"/>
              <ac:cxnSpMk id="75" creationId="{00000000-0000-0000-0000-000000000000}"/>
            </ac:cxnSpMkLst>
          </pc:cxnChg>
        </pc:sldLayoutChg>
        <pc:sldLayoutChg chg="del">
          <pc:chgData name="Ricardo Sérgio Souza e Sousa" userId="b2322a61-6b0f-42d2-a39f-a9a5f08999e4" providerId="ADAL" clId="{F7F79181-87BF-44AE-B828-0B657792DFE7}" dt="2022-04-28T12:00:36.650" v="432" actId="47"/>
          <pc:sldLayoutMkLst>
            <pc:docMk/>
            <pc:sldMasterMk cId="2158362490" sldId="2147483660"/>
            <pc:sldLayoutMk cId="3172595685" sldId="2147483674"/>
          </pc:sldLayoutMkLst>
        </pc:sldLayoutChg>
        <pc:sldLayoutChg chg="del">
          <pc:chgData name="Ricardo Sérgio Souza e Sousa" userId="b2322a61-6b0f-42d2-a39f-a9a5f08999e4" providerId="ADAL" clId="{F7F79181-87BF-44AE-B828-0B657792DFE7}" dt="2022-04-28T11:59:57.616" v="389" actId="47"/>
          <pc:sldLayoutMkLst>
            <pc:docMk/>
            <pc:sldMasterMk cId="2158362490" sldId="2147483660"/>
            <pc:sldLayoutMk cId="2347832559" sldId="2147483675"/>
          </pc:sldLayoutMkLst>
        </pc:sldLayoutChg>
        <pc:sldLayoutChg chg="del">
          <pc:chgData name="Ricardo Sérgio Souza e Sousa" userId="b2322a61-6b0f-42d2-a39f-a9a5f08999e4" providerId="ADAL" clId="{F7F79181-87BF-44AE-B828-0B657792DFE7}" dt="2022-04-28T12:00:03.420" v="405" actId="47"/>
          <pc:sldLayoutMkLst>
            <pc:docMk/>
            <pc:sldMasterMk cId="2158362490" sldId="2147483660"/>
            <pc:sldLayoutMk cId="801188597" sldId="2147483676"/>
          </pc:sldLayoutMkLst>
        </pc:sldLayoutChg>
        <pc:sldLayoutChg chg="del">
          <pc:chgData name="Ricardo Sérgio Souza e Sousa" userId="b2322a61-6b0f-42d2-a39f-a9a5f08999e4" providerId="ADAL" clId="{F7F79181-87BF-44AE-B828-0B657792DFE7}" dt="2022-04-28T12:00:15.587" v="413" actId="47"/>
          <pc:sldLayoutMkLst>
            <pc:docMk/>
            <pc:sldMasterMk cId="2158362490" sldId="2147483660"/>
            <pc:sldLayoutMk cId="1242023406" sldId="2147483677"/>
          </pc:sldLayoutMkLst>
        </pc:sldLayoutChg>
        <pc:sldLayoutChg chg="del">
          <pc:chgData name="Ricardo Sérgio Souza e Sousa" userId="b2322a61-6b0f-42d2-a39f-a9a5f08999e4" providerId="ADAL" clId="{F7F79181-87BF-44AE-B828-0B657792DFE7}" dt="2022-05-13T11:09:32.014" v="7960" actId="47"/>
          <pc:sldLayoutMkLst>
            <pc:docMk/>
            <pc:sldMasterMk cId="2158362490" sldId="2147483660"/>
            <pc:sldLayoutMk cId="2471867769" sldId="2147483677"/>
          </pc:sldLayoutMkLst>
        </pc:sldLayoutChg>
        <pc:sldLayoutChg chg="del">
          <pc:chgData name="Ricardo Sérgio Souza e Sousa" userId="b2322a61-6b0f-42d2-a39f-a9a5f08999e4" providerId="ADAL" clId="{F7F79181-87BF-44AE-B828-0B657792DFE7}" dt="2022-04-28T12:00:14.140" v="412" actId="47"/>
          <pc:sldLayoutMkLst>
            <pc:docMk/>
            <pc:sldMasterMk cId="2158362490" sldId="2147483660"/>
            <pc:sldLayoutMk cId="1592910849" sldId="2147483678"/>
          </pc:sldLayoutMkLst>
        </pc:sldLayoutChg>
      </pc:sldMasterChg>
    </pc:docChg>
  </pc:docChgLst>
  <pc:docChgLst>
    <pc:chgData name="Ricardo Sérgio Souza e Sousa" userId="b2322a61-6b0f-42d2-a39f-a9a5f08999e4" providerId="ADAL" clId="{899E5016-84CF-47F4-B7D2-359D75C619A6}"/>
    <pc:docChg chg="undo redo custSel addSld delSld modSld sldOrd replTag">
      <pc:chgData name="Ricardo Sérgio Souza e Sousa" userId="b2322a61-6b0f-42d2-a39f-a9a5f08999e4" providerId="ADAL" clId="{899E5016-84CF-47F4-B7D2-359D75C619A6}" dt="2022-06-22T10:16:43.889" v="1366" actId="20577"/>
      <pc:docMkLst>
        <pc:docMk/>
      </pc:docMkLst>
      <pc:sldChg chg="modSp mod modAnim">
        <pc:chgData name="Ricardo Sérgio Souza e Sousa" userId="b2322a61-6b0f-42d2-a39f-a9a5f08999e4" providerId="ADAL" clId="{899E5016-84CF-47F4-B7D2-359D75C619A6}" dt="2022-06-20T14:20:22.628" v="178"/>
        <pc:sldMkLst>
          <pc:docMk/>
          <pc:sldMk cId="0" sldId="259"/>
        </pc:sldMkLst>
        <pc:spChg chg="mod">
          <ac:chgData name="Ricardo Sérgio Souza e Sousa" userId="b2322a61-6b0f-42d2-a39f-a9a5f08999e4" providerId="ADAL" clId="{899E5016-84CF-47F4-B7D2-359D75C619A6}" dt="2022-06-20T14:19:27.959" v="173" actId="14100"/>
          <ac:spMkLst>
            <pc:docMk/>
            <pc:sldMk cId="0" sldId="259"/>
            <ac:spMk id="7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19:12.917" v="166" actId="20577"/>
          <ac:spMkLst>
            <pc:docMk/>
            <pc:sldMk cId="0" sldId="259"/>
            <ac:spMk id="9" creationId="{00000000-0000-0000-0000-000000000000}"/>
          </ac:spMkLst>
        </pc:spChg>
      </pc:sldChg>
      <pc:sldChg chg="addSp delSp modSp mod modAnim">
        <pc:chgData name="Ricardo Sérgio Souza e Sousa" userId="b2322a61-6b0f-42d2-a39f-a9a5f08999e4" providerId="ADAL" clId="{899E5016-84CF-47F4-B7D2-359D75C619A6}" dt="2022-06-20T14:22:49.898" v="191"/>
        <pc:sldMkLst>
          <pc:docMk/>
          <pc:sldMk cId="0" sldId="260"/>
        </pc:sldMkLst>
        <pc:spChg chg="mod topLvl">
          <ac:chgData name="Ricardo Sérgio Souza e Sousa" userId="b2322a61-6b0f-42d2-a39f-a9a5f08999e4" providerId="ADAL" clId="{899E5016-84CF-47F4-B7D2-359D75C619A6}" dt="2022-06-20T14:22:23.262" v="188" actId="164"/>
          <ac:spMkLst>
            <pc:docMk/>
            <pc:sldMk cId="0" sldId="260"/>
            <ac:spMk id="6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22:23.262" v="188" actId="164"/>
          <ac:spMkLst>
            <pc:docMk/>
            <pc:sldMk cId="0" sldId="260"/>
            <ac:spMk id="8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22:38.747" v="189" actId="164"/>
          <ac:spMkLst>
            <pc:docMk/>
            <pc:sldMk cId="0" sldId="260"/>
            <ac:spMk id="9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22:38.747" v="189" actId="164"/>
          <ac:spMkLst>
            <pc:docMk/>
            <pc:sldMk cId="0" sldId="260"/>
            <ac:spMk id="10" creationId="{00000000-0000-0000-0000-000000000000}"/>
          </ac:spMkLst>
        </pc:spChg>
        <pc:grpChg chg="add mod">
          <ac:chgData name="Ricardo Sérgio Souza e Sousa" userId="b2322a61-6b0f-42d2-a39f-a9a5f08999e4" providerId="ADAL" clId="{899E5016-84CF-47F4-B7D2-359D75C619A6}" dt="2022-06-20T14:22:23.262" v="188" actId="164"/>
          <ac:grpSpMkLst>
            <pc:docMk/>
            <pc:sldMk cId="0" sldId="260"/>
            <ac:grpSpMk id="2" creationId="{0B67E3C3-5E4A-8332-5117-30A60D4CCD8A}"/>
          </ac:grpSpMkLst>
        </pc:grpChg>
        <pc:grpChg chg="add mod">
          <ac:chgData name="Ricardo Sérgio Souza e Sousa" userId="b2322a61-6b0f-42d2-a39f-a9a5f08999e4" providerId="ADAL" clId="{899E5016-84CF-47F4-B7D2-359D75C619A6}" dt="2022-06-20T14:22:38.747" v="189" actId="164"/>
          <ac:grpSpMkLst>
            <pc:docMk/>
            <pc:sldMk cId="0" sldId="260"/>
            <ac:grpSpMk id="3" creationId="{05467BDB-D3E5-FA78-ABE0-8A049D3BA771}"/>
          </ac:grpSpMkLst>
        </pc:grpChg>
        <pc:grpChg chg="del">
          <ac:chgData name="Ricardo Sérgio Souza e Sousa" userId="b2322a61-6b0f-42d2-a39f-a9a5f08999e4" providerId="ADAL" clId="{899E5016-84CF-47F4-B7D2-359D75C619A6}" dt="2022-06-20T14:22:18.709" v="187" actId="165"/>
          <ac:grpSpMkLst>
            <pc:docMk/>
            <pc:sldMk cId="0" sldId="260"/>
            <ac:grpSpMk id="4" creationId="{00000000-0000-0000-0000-000000000000}"/>
          </ac:grpSpMkLst>
        </pc:grpChg>
        <pc:picChg chg="mod topLvl">
          <ac:chgData name="Ricardo Sérgio Souza e Sousa" userId="b2322a61-6b0f-42d2-a39f-a9a5f08999e4" providerId="ADAL" clId="{899E5016-84CF-47F4-B7D2-359D75C619A6}" dt="2022-06-20T14:22:18.709" v="187" actId="165"/>
          <ac:picMkLst>
            <pc:docMk/>
            <pc:sldMk cId="0" sldId="260"/>
            <ac:picMk id="5" creationId="{00000000-0000-0000-0000-000000000000}"/>
          </ac:picMkLst>
        </pc:picChg>
      </pc:sldChg>
      <pc:sldChg chg="modAnim">
        <pc:chgData name="Ricardo Sérgio Souza e Sousa" userId="b2322a61-6b0f-42d2-a39f-a9a5f08999e4" providerId="ADAL" clId="{899E5016-84CF-47F4-B7D2-359D75C619A6}" dt="2022-06-20T14:23:59.818" v="195"/>
        <pc:sldMkLst>
          <pc:docMk/>
          <pc:sldMk cId="0" sldId="261"/>
        </pc:sldMkLst>
      </pc:sldChg>
      <pc:sldChg chg="modAnim">
        <pc:chgData name="Ricardo Sérgio Souza e Sousa" userId="b2322a61-6b0f-42d2-a39f-a9a5f08999e4" providerId="ADAL" clId="{899E5016-84CF-47F4-B7D2-359D75C619A6}" dt="2022-06-20T14:25:03.236" v="200"/>
        <pc:sldMkLst>
          <pc:docMk/>
          <pc:sldMk cId="0" sldId="264"/>
        </pc:sldMkLst>
      </pc:sldChg>
      <pc:sldChg chg="modAnim">
        <pc:chgData name="Ricardo Sérgio Souza e Sousa" userId="b2322a61-6b0f-42d2-a39f-a9a5f08999e4" providerId="ADAL" clId="{899E5016-84CF-47F4-B7D2-359D75C619A6}" dt="2022-06-20T14:26:04.042" v="204"/>
        <pc:sldMkLst>
          <pc:docMk/>
          <pc:sldMk cId="0" sldId="266"/>
        </pc:sldMkLst>
      </pc:sldChg>
      <pc:sldChg chg="modAnim">
        <pc:chgData name="Ricardo Sérgio Souza e Sousa" userId="b2322a61-6b0f-42d2-a39f-a9a5f08999e4" providerId="ADAL" clId="{899E5016-84CF-47F4-B7D2-359D75C619A6}" dt="2022-06-20T14:26:53.822" v="206"/>
        <pc:sldMkLst>
          <pc:docMk/>
          <pc:sldMk cId="0" sldId="267"/>
        </pc:sldMkLst>
      </pc:sldChg>
      <pc:sldChg chg="addSp modSp mod">
        <pc:chgData name="Ricardo Sérgio Souza e Sousa" userId="b2322a61-6b0f-42d2-a39f-a9a5f08999e4" providerId="ADAL" clId="{899E5016-84CF-47F4-B7D2-359D75C619A6}" dt="2022-06-20T14:32:24.461" v="309" actId="164"/>
        <pc:sldMkLst>
          <pc:docMk/>
          <pc:sldMk cId="0" sldId="268"/>
        </pc:sldMkLst>
        <pc:spChg chg="add mod">
          <ac:chgData name="Ricardo Sérgio Souza e Sousa" userId="b2322a61-6b0f-42d2-a39f-a9a5f08999e4" providerId="ADAL" clId="{899E5016-84CF-47F4-B7D2-359D75C619A6}" dt="2022-06-20T14:32:24.461" v="309" actId="164"/>
          <ac:spMkLst>
            <pc:docMk/>
            <pc:sldMk cId="0" sldId="268"/>
            <ac:spMk id="2" creationId="{FE309BE8-BD4A-A2DF-DAC8-F401B7A45966}"/>
          </ac:spMkLst>
        </pc:spChg>
        <pc:spChg chg="mod">
          <ac:chgData name="Ricardo Sérgio Souza e Sousa" userId="b2322a61-6b0f-42d2-a39f-a9a5f08999e4" providerId="ADAL" clId="{899E5016-84CF-47F4-B7D2-359D75C619A6}" dt="2022-06-20T14:32:21.911" v="308" actId="164"/>
          <ac:spMkLst>
            <pc:docMk/>
            <pc:sldMk cId="0" sldId="268"/>
            <ac:spMk id="7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32:21.911" v="308" actId="164"/>
          <ac:spMkLst>
            <pc:docMk/>
            <pc:sldMk cId="0" sldId="268"/>
            <ac:spMk id="8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32:21.911" v="308" actId="164"/>
          <ac:spMkLst>
            <pc:docMk/>
            <pc:sldMk cId="0" sldId="268"/>
            <ac:spMk id="9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32:21.911" v="308" actId="164"/>
          <ac:spMkLst>
            <pc:docMk/>
            <pc:sldMk cId="0" sldId="268"/>
            <ac:spMk id="11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32:21.911" v="308" actId="164"/>
          <ac:spMkLst>
            <pc:docMk/>
            <pc:sldMk cId="0" sldId="268"/>
            <ac:spMk id="12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32:21.911" v="308" actId="164"/>
          <ac:spMkLst>
            <pc:docMk/>
            <pc:sldMk cId="0" sldId="268"/>
            <ac:spMk id="13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32:21.911" v="308" actId="164"/>
          <ac:spMkLst>
            <pc:docMk/>
            <pc:sldMk cId="0" sldId="268"/>
            <ac:spMk id="14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32:21.911" v="308" actId="164"/>
          <ac:spMkLst>
            <pc:docMk/>
            <pc:sldMk cId="0" sldId="268"/>
            <ac:spMk id="16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32:21.911" v="308" actId="164"/>
          <ac:spMkLst>
            <pc:docMk/>
            <pc:sldMk cId="0" sldId="268"/>
            <ac:spMk id="19" creationId="{00000000-0000-0000-0000-000000000000}"/>
          </ac:spMkLst>
        </pc:spChg>
        <pc:spChg chg="add mod">
          <ac:chgData name="Ricardo Sérgio Souza e Sousa" userId="b2322a61-6b0f-42d2-a39f-a9a5f08999e4" providerId="ADAL" clId="{899E5016-84CF-47F4-B7D2-359D75C619A6}" dt="2022-06-20T14:32:24.461" v="309" actId="164"/>
          <ac:spMkLst>
            <pc:docMk/>
            <pc:sldMk cId="0" sldId="268"/>
            <ac:spMk id="21" creationId="{0120F8EC-30C6-951F-5237-A430D006D631}"/>
          </ac:spMkLst>
        </pc:spChg>
        <pc:grpChg chg="add mod">
          <ac:chgData name="Ricardo Sérgio Souza e Sousa" userId="b2322a61-6b0f-42d2-a39f-a9a5f08999e4" providerId="ADAL" clId="{899E5016-84CF-47F4-B7D2-359D75C619A6}" dt="2022-06-20T14:32:24.461" v="309" actId="164"/>
          <ac:grpSpMkLst>
            <pc:docMk/>
            <pc:sldMk cId="0" sldId="268"/>
            <ac:grpSpMk id="3" creationId="{C38E8D9D-4EB4-7CCE-4E29-912135D41ECB}"/>
          </ac:grpSpMkLst>
        </pc:grpChg>
        <pc:grpChg chg="mod">
          <ac:chgData name="Ricardo Sérgio Souza e Sousa" userId="b2322a61-6b0f-42d2-a39f-a9a5f08999e4" providerId="ADAL" clId="{899E5016-84CF-47F4-B7D2-359D75C619A6}" dt="2022-06-20T14:32:24.461" v="309" actId="164"/>
          <ac:grpSpMkLst>
            <pc:docMk/>
            <pc:sldMk cId="0" sldId="268"/>
            <ac:grpSpMk id="4" creationId="{00000000-0000-0000-0000-000000000000}"/>
          </ac:grpSpMkLst>
        </pc:grpChg>
        <pc:picChg chg="mod">
          <ac:chgData name="Ricardo Sérgio Souza e Sousa" userId="b2322a61-6b0f-42d2-a39f-a9a5f08999e4" providerId="ADAL" clId="{899E5016-84CF-47F4-B7D2-359D75C619A6}" dt="2022-06-20T14:32:21.911" v="308" actId="164"/>
          <ac:picMkLst>
            <pc:docMk/>
            <pc:sldMk cId="0" sldId="268"/>
            <ac:picMk id="5" creationId="{00000000-0000-0000-0000-000000000000}"/>
          </ac:picMkLst>
        </pc:picChg>
        <pc:picChg chg="mod">
          <ac:chgData name="Ricardo Sérgio Souza e Sousa" userId="b2322a61-6b0f-42d2-a39f-a9a5f08999e4" providerId="ADAL" clId="{899E5016-84CF-47F4-B7D2-359D75C619A6}" dt="2022-06-20T14:32:21.911" v="308" actId="164"/>
          <ac:picMkLst>
            <pc:docMk/>
            <pc:sldMk cId="0" sldId="268"/>
            <ac:picMk id="6" creationId="{00000000-0000-0000-0000-000000000000}"/>
          </ac:picMkLst>
        </pc:picChg>
        <pc:picChg chg="mod">
          <ac:chgData name="Ricardo Sérgio Souza e Sousa" userId="b2322a61-6b0f-42d2-a39f-a9a5f08999e4" providerId="ADAL" clId="{899E5016-84CF-47F4-B7D2-359D75C619A6}" dt="2022-06-20T14:32:21.911" v="308" actId="164"/>
          <ac:picMkLst>
            <pc:docMk/>
            <pc:sldMk cId="0" sldId="268"/>
            <ac:picMk id="10" creationId="{00000000-0000-0000-0000-000000000000}"/>
          </ac:picMkLst>
        </pc:picChg>
        <pc:picChg chg="mod">
          <ac:chgData name="Ricardo Sérgio Souza e Sousa" userId="b2322a61-6b0f-42d2-a39f-a9a5f08999e4" providerId="ADAL" clId="{899E5016-84CF-47F4-B7D2-359D75C619A6}" dt="2022-06-20T14:32:21.911" v="308" actId="164"/>
          <ac:picMkLst>
            <pc:docMk/>
            <pc:sldMk cId="0" sldId="268"/>
            <ac:picMk id="15" creationId="{00000000-0000-0000-0000-000000000000}"/>
          </ac:picMkLst>
        </pc:picChg>
        <pc:picChg chg="mod">
          <ac:chgData name="Ricardo Sérgio Souza e Sousa" userId="b2322a61-6b0f-42d2-a39f-a9a5f08999e4" providerId="ADAL" clId="{899E5016-84CF-47F4-B7D2-359D75C619A6}" dt="2022-06-20T14:32:21.911" v="308" actId="164"/>
          <ac:picMkLst>
            <pc:docMk/>
            <pc:sldMk cId="0" sldId="268"/>
            <ac:picMk id="17" creationId="{00000000-0000-0000-0000-000000000000}"/>
          </ac:picMkLst>
        </pc:picChg>
        <pc:picChg chg="mod">
          <ac:chgData name="Ricardo Sérgio Souza e Sousa" userId="b2322a61-6b0f-42d2-a39f-a9a5f08999e4" providerId="ADAL" clId="{899E5016-84CF-47F4-B7D2-359D75C619A6}" dt="2022-06-20T14:32:21.911" v="308" actId="164"/>
          <ac:picMkLst>
            <pc:docMk/>
            <pc:sldMk cId="0" sldId="268"/>
            <ac:picMk id="18" creationId="{00000000-0000-0000-0000-000000000000}"/>
          </ac:picMkLst>
        </pc:picChg>
      </pc:sldChg>
      <pc:sldChg chg="addSp modSp modAnim">
        <pc:chgData name="Ricardo Sérgio Souza e Sousa" userId="b2322a61-6b0f-42d2-a39f-a9a5f08999e4" providerId="ADAL" clId="{899E5016-84CF-47F4-B7D2-359D75C619A6}" dt="2022-06-20T14:35:37.886" v="391"/>
        <pc:sldMkLst>
          <pc:docMk/>
          <pc:sldMk cId="0" sldId="278"/>
        </pc:sldMkLst>
        <pc:spChg chg="mod">
          <ac:chgData name="Ricardo Sérgio Souza e Sousa" userId="b2322a61-6b0f-42d2-a39f-a9a5f08999e4" providerId="ADAL" clId="{899E5016-84CF-47F4-B7D2-359D75C619A6}" dt="2022-06-20T14:34:21.157" v="381" actId="164"/>
          <ac:spMkLst>
            <pc:docMk/>
            <pc:sldMk cId="0" sldId="278"/>
            <ac:spMk id="2056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34:21.157" v="381" actId="164"/>
          <ac:spMkLst>
            <pc:docMk/>
            <pc:sldMk cId="0" sldId="278"/>
            <ac:spMk id="2057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34:21.157" v="381" actId="164"/>
          <ac:spMkLst>
            <pc:docMk/>
            <pc:sldMk cId="0" sldId="278"/>
            <ac:spMk id="2058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34:14.420" v="380" actId="164"/>
          <ac:spMkLst>
            <pc:docMk/>
            <pc:sldMk cId="0" sldId="278"/>
            <ac:spMk id="2063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34:14.420" v="380" actId="164"/>
          <ac:spMkLst>
            <pc:docMk/>
            <pc:sldMk cId="0" sldId="278"/>
            <ac:spMk id="2064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34:14.420" v="380" actId="164"/>
          <ac:spMkLst>
            <pc:docMk/>
            <pc:sldMk cId="0" sldId="278"/>
            <ac:spMk id="2065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34:26.032" v="382" actId="164"/>
          <ac:spMkLst>
            <pc:docMk/>
            <pc:sldMk cId="0" sldId="278"/>
            <ac:spMk id="2068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34:26.032" v="382" actId="164"/>
          <ac:spMkLst>
            <pc:docMk/>
            <pc:sldMk cId="0" sldId="278"/>
            <ac:spMk id="2069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34:26.032" v="382" actId="164"/>
          <ac:spMkLst>
            <pc:docMk/>
            <pc:sldMk cId="0" sldId="278"/>
            <ac:spMk id="2070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34:31.854" v="383" actId="164"/>
          <ac:spMkLst>
            <pc:docMk/>
            <pc:sldMk cId="0" sldId="278"/>
            <ac:spMk id="2071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34:31.854" v="383" actId="164"/>
          <ac:spMkLst>
            <pc:docMk/>
            <pc:sldMk cId="0" sldId="278"/>
            <ac:spMk id="2072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34:31.854" v="383" actId="164"/>
          <ac:spMkLst>
            <pc:docMk/>
            <pc:sldMk cId="0" sldId="278"/>
            <ac:spMk id="2073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34:37.222" v="384" actId="164"/>
          <ac:spMkLst>
            <pc:docMk/>
            <pc:sldMk cId="0" sldId="278"/>
            <ac:spMk id="2074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34:37.222" v="384" actId="164"/>
          <ac:spMkLst>
            <pc:docMk/>
            <pc:sldMk cId="0" sldId="278"/>
            <ac:spMk id="2075" creationId="{00000000-0000-0000-0000-000000000000}"/>
          </ac:spMkLst>
        </pc:spChg>
        <pc:spChg chg="mod">
          <ac:chgData name="Ricardo Sérgio Souza e Sousa" userId="b2322a61-6b0f-42d2-a39f-a9a5f08999e4" providerId="ADAL" clId="{899E5016-84CF-47F4-B7D2-359D75C619A6}" dt="2022-06-20T14:34:37.222" v="384" actId="164"/>
          <ac:spMkLst>
            <pc:docMk/>
            <pc:sldMk cId="0" sldId="278"/>
            <ac:spMk id="2076" creationId="{00000000-0000-0000-0000-000000000000}"/>
          </ac:spMkLst>
        </pc:spChg>
        <pc:grpChg chg="add mod">
          <ac:chgData name="Ricardo Sérgio Souza e Sousa" userId="b2322a61-6b0f-42d2-a39f-a9a5f08999e4" providerId="ADAL" clId="{899E5016-84CF-47F4-B7D2-359D75C619A6}" dt="2022-06-20T14:34:14.420" v="380" actId="164"/>
          <ac:grpSpMkLst>
            <pc:docMk/>
            <pc:sldMk cId="0" sldId="278"/>
            <ac:grpSpMk id="2" creationId="{35319116-B527-6860-3F4D-49A4FBE4FEDB}"/>
          </ac:grpSpMkLst>
        </pc:grpChg>
        <pc:grpChg chg="add mod">
          <ac:chgData name="Ricardo Sérgio Souza e Sousa" userId="b2322a61-6b0f-42d2-a39f-a9a5f08999e4" providerId="ADAL" clId="{899E5016-84CF-47F4-B7D2-359D75C619A6}" dt="2022-06-20T14:34:21.157" v="381" actId="164"/>
          <ac:grpSpMkLst>
            <pc:docMk/>
            <pc:sldMk cId="0" sldId="278"/>
            <ac:grpSpMk id="3" creationId="{3CCB8B97-3DB1-D1D1-097C-90B822A002B7}"/>
          </ac:grpSpMkLst>
        </pc:grpChg>
        <pc:grpChg chg="add mod">
          <ac:chgData name="Ricardo Sérgio Souza e Sousa" userId="b2322a61-6b0f-42d2-a39f-a9a5f08999e4" providerId="ADAL" clId="{899E5016-84CF-47F4-B7D2-359D75C619A6}" dt="2022-06-20T14:34:26.032" v="382" actId="164"/>
          <ac:grpSpMkLst>
            <pc:docMk/>
            <pc:sldMk cId="0" sldId="278"/>
            <ac:grpSpMk id="4" creationId="{F842134A-79A2-62CB-EF19-AE63D7C660D7}"/>
          </ac:grpSpMkLst>
        </pc:grpChg>
        <pc:grpChg chg="add mod">
          <ac:chgData name="Ricardo Sérgio Souza e Sousa" userId="b2322a61-6b0f-42d2-a39f-a9a5f08999e4" providerId="ADAL" clId="{899E5016-84CF-47F4-B7D2-359D75C619A6}" dt="2022-06-20T14:34:31.854" v="383" actId="164"/>
          <ac:grpSpMkLst>
            <pc:docMk/>
            <pc:sldMk cId="0" sldId="278"/>
            <ac:grpSpMk id="5" creationId="{3F660DD9-C5D3-BE7D-9AA2-9D098F1D4444}"/>
          </ac:grpSpMkLst>
        </pc:grpChg>
        <pc:grpChg chg="add mod">
          <ac:chgData name="Ricardo Sérgio Souza e Sousa" userId="b2322a61-6b0f-42d2-a39f-a9a5f08999e4" providerId="ADAL" clId="{899E5016-84CF-47F4-B7D2-359D75C619A6}" dt="2022-06-20T14:34:37.222" v="384" actId="164"/>
          <ac:grpSpMkLst>
            <pc:docMk/>
            <pc:sldMk cId="0" sldId="278"/>
            <ac:grpSpMk id="7" creationId="{D980B2F5-ABA9-BD9D-8622-3F5323966C77}"/>
          </ac:grpSpMkLst>
        </pc:grpChg>
      </pc:sldChg>
      <pc:sldChg chg="modSp mod">
        <pc:chgData name="Ricardo Sérgio Souza e Sousa" userId="b2322a61-6b0f-42d2-a39f-a9a5f08999e4" providerId="ADAL" clId="{899E5016-84CF-47F4-B7D2-359D75C619A6}" dt="2022-06-20T14:45:18.294" v="499" actId="20577"/>
        <pc:sldMkLst>
          <pc:docMk/>
          <pc:sldMk cId="0" sldId="289"/>
        </pc:sldMkLst>
        <pc:spChg chg="mod">
          <ac:chgData name="Ricardo Sérgio Souza e Sousa" userId="b2322a61-6b0f-42d2-a39f-a9a5f08999e4" providerId="ADAL" clId="{899E5016-84CF-47F4-B7D2-359D75C619A6}" dt="2022-06-20T14:45:18.294" v="499" actId="20577"/>
          <ac:spMkLst>
            <pc:docMk/>
            <pc:sldMk cId="0" sldId="289"/>
            <ac:spMk id="30724" creationId="{00000000-0000-0000-0000-000000000000}"/>
          </ac:spMkLst>
        </pc:spChg>
      </pc:sldChg>
      <pc:sldChg chg="modSp mod">
        <pc:chgData name="Ricardo Sérgio Souza e Sousa" userId="b2322a61-6b0f-42d2-a39f-a9a5f08999e4" providerId="ADAL" clId="{899E5016-84CF-47F4-B7D2-359D75C619A6}" dt="2022-06-20T14:51:02.336" v="1165" actId="20577"/>
        <pc:sldMkLst>
          <pc:docMk/>
          <pc:sldMk cId="0" sldId="291"/>
        </pc:sldMkLst>
        <pc:spChg chg="mod">
          <ac:chgData name="Ricardo Sérgio Souza e Sousa" userId="b2322a61-6b0f-42d2-a39f-a9a5f08999e4" providerId="ADAL" clId="{899E5016-84CF-47F4-B7D2-359D75C619A6}" dt="2022-06-20T14:51:02.336" v="1165" actId="20577"/>
          <ac:spMkLst>
            <pc:docMk/>
            <pc:sldMk cId="0" sldId="291"/>
            <ac:spMk id="31748" creationId="{00000000-0000-0000-0000-000000000000}"/>
          </ac:spMkLst>
        </pc:spChg>
      </pc:sldChg>
      <pc:sldChg chg="ord">
        <pc:chgData name="Ricardo Sérgio Souza e Sousa" userId="b2322a61-6b0f-42d2-a39f-a9a5f08999e4" providerId="ADAL" clId="{899E5016-84CF-47F4-B7D2-359D75C619A6}" dt="2022-06-20T14:36:51.295" v="393"/>
        <pc:sldMkLst>
          <pc:docMk/>
          <pc:sldMk cId="0" sldId="295"/>
        </pc:sldMkLst>
      </pc:sldChg>
      <pc:sldChg chg="addSp modSp mod">
        <pc:chgData name="Ricardo Sérgio Souza e Sousa" userId="b2322a61-6b0f-42d2-a39f-a9a5f08999e4" providerId="ADAL" clId="{899E5016-84CF-47F4-B7D2-359D75C619A6}" dt="2022-06-20T14:57:38.799" v="1351" actId="207"/>
        <pc:sldMkLst>
          <pc:docMk/>
          <pc:sldMk cId="0" sldId="302"/>
        </pc:sldMkLst>
        <pc:spChg chg="add mod">
          <ac:chgData name="Ricardo Sérgio Souza e Sousa" userId="b2322a61-6b0f-42d2-a39f-a9a5f08999e4" providerId="ADAL" clId="{899E5016-84CF-47F4-B7D2-359D75C619A6}" dt="2022-06-20T14:57:38.799" v="1351" actId="207"/>
          <ac:spMkLst>
            <pc:docMk/>
            <pc:sldMk cId="0" sldId="302"/>
            <ac:spMk id="3" creationId="{A9B741D8-247C-D15E-F923-970D31410B75}"/>
          </ac:spMkLst>
        </pc:spChg>
        <pc:spChg chg="mod">
          <ac:chgData name="Ricardo Sérgio Souza e Sousa" userId="b2322a61-6b0f-42d2-a39f-a9a5f08999e4" providerId="ADAL" clId="{899E5016-84CF-47F4-B7D2-359D75C619A6}" dt="2022-06-20T14:55:34.512" v="1218" actId="1076"/>
          <ac:spMkLst>
            <pc:docMk/>
            <pc:sldMk cId="0" sldId="302"/>
            <ac:spMk id="16386" creationId="{264B27E4-6F9C-4222-AE7B-F81F15E8590F}"/>
          </ac:spMkLst>
        </pc:spChg>
      </pc:sldChg>
      <pc:sldChg chg="modSp mod modAnim">
        <pc:chgData name="Ricardo Sérgio Souza e Sousa" userId="b2322a61-6b0f-42d2-a39f-a9a5f08999e4" providerId="ADAL" clId="{899E5016-84CF-47F4-B7D2-359D75C619A6}" dt="2022-06-20T14:33:33.566" v="379" actId="20577"/>
        <pc:sldMkLst>
          <pc:docMk/>
          <pc:sldMk cId="0" sldId="306"/>
        </pc:sldMkLst>
        <pc:spChg chg="mod">
          <ac:chgData name="Ricardo Sérgio Souza e Sousa" userId="b2322a61-6b0f-42d2-a39f-a9a5f08999e4" providerId="ADAL" clId="{899E5016-84CF-47F4-B7D2-359D75C619A6}" dt="2022-06-20T14:32:10.479" v="298" actId="20577"/>
          <ac:spMkLst>
            <pc:docMk/>
            <pc:sldMk cId="0" sldId="306"/>
            <ac:spMk id="5" creationId="{259A33B9-E9FF-4FE0-9DB9-48B670D4CE66}"/>
          </ac:spMkLst>
        </pc:spChg>
        <pc:spChg chg="mod">
          <ac:chgData name="Ricardo Sérgio Souza e Sousa" userId="b2322a61-6b0f-42d2-a39f-a9a5f08999e4" providerId="ADAL" clId="{899E5016-84CF-47F4-B7D2-359D75C619A6}" dt="2022-06-20T14:33:33.566" v="379" actId="20577"/>
          <ac:spMkLst>
            <pc:docMk/>
            <pc:sldMk cId="0" sldId="306"/>
            <ac:spMk id="21508" creationId="{00000000-0000-0000-0000-000000000000}"/>
          </ac:spMkLst>
        </pc:spChg>
      </pc:sldChg>
      <pc:sldChg chg="ord">
        <pc:chgData name="Ricardo Sérgio Souza e Sousa" userId="b2322a61-6b0f-42d2-a39f-a9a5f08999e4" providerId="ADAL" clId="{899E5016-84CF-47F4-B7D2-359D75C619A6}" dt="2022-06-20T14:37:00.537" v="395"/>
        <pc:sldMkLst>
          <pc:docMk/>
          <pc:sldMk cId="0" sldId="310"/>
        </pc:sldMkLst>
      </pc:sldChg>
      <pc:sldChg chg="modSp mod">
        <pc:chgData name="Ricardo Sérgio Souza e Sousa" userId="b2322a61-6b0f-42d2-a39f-a9a5f08999e4" providerId="ADAL" clId="{899E5016-84CF-47F4-B7D2-359D75C619A6}" dt="2022-06-20T14:47:28.279" v="534" actId="20577"/>
        <pc:sldMkLst>
          <pc:docMk/>
          <pc:sldMk cId="0" sldId="312"/>
        </pc:sldMkLst>
        <pc:spChg chg="mod">
          <ac:chgData name="Ricardo Sérgio Souza e Sousa" userId="b2322a61-6b0f-42d2-a39f-a9a5f08999e4" providerId="ADAL" clId="{899E5016-84CF-47F4-B7D2-359D75C619A6}" dt="2022-06-20T14:47:28.279" v="534" actId="20577"/>
          <ac:spMkLst>
            <pc:docMk/>
            <pc:sldMk cId="0" sldId="312"/>
            <ac:spMk id="73" creationId="{C4F03CED-0F41-48CA-A401-C8ACF86E3F3F}"/>
          </ac:spMkLst>
        </pc:spChg>
      </pc:sldChg>
      <pc:sldChg chg="addSp modSp modAnim">
        <pc:chgData name="Ricardo Sérgio Souza e Sousa" userId="b2322a61-6b0f-42d2-a39f-a9a5f08999e4" providerId="ADAL" clId="{899E5016-84CF-47F4-B7D2-359D75C619A6}" dt="2022-06-20T14:38:27.373" v="400"/>
        <pc:sldMkLst>
          <pc:docMk/>
          <pc:sldMk cId="0" sldId="320"/>
        </pc:sldMkLst>
        <pc:spChg chg="mod">
          <ac:chgData name="Ricardo Sérgio Souza e Sousa" userId="b2322a61-6b0f-42d2-a39f-a9a5f08999e4" providerId="ADAL" clId="{899E5016-84CF-47F4-B7D2-359D75C619A6}" dt="2022-06-20T14:38:05.836" v="397" actId="164"/>
          <ac:spMkLst>
            <pc:docMk/>
            <pc:sldMk cId="0" sldId="320"/>
            <ac:spMk id="46" creationId="{61E40709-03BF-4B66-BCB8-0561750A443C}"/>
          </ac:spMkLst>
        </pc:spChg>
        <pc:spChg chg="mod">
          <ac:chgData name="Ricardo Sérgio Souza e Sousa" userId="b2322a61-6b0f-42d2-a39f-a9a5f08999e4" providerId="ADAL" clId="{899E5016-84CF-47F4-B7D2-359D75C619A6}" dt="2022-06-20T14:38:05.836" v="397" actId="164"/>
          <ac:spMkLst>
            <pc:docMk/>
            <pc:sldMk cId="0" sldId="320"/>
            <ac:spMk id="58" creationId="{0A2B2CFF-4DD2-4DAD-8624-199A80583C6F}"/>
          </ac:spMkLst>
        </pc:spChg>
        <pc:spChg chg="mod">
          <ac:chgData name="Ricardo Sérgio Souza e Sousa" userId="b2322a61-6b0f-42d2-a39f-a9a5f08999e4" providerId="ADAL" clId="{899E5016-84CF-47F4-B7D2-359D75C619A6}" dt="2022-06-20T14:38:19.431" v="399" actId="164"/>
          <ac:spMkLst>
            <pc:docMk/>
            <pc:sldMk cId="0" sldId="320"/>
            <ac:spMk id="59" creationId="{F35093F4-F5BE-4B71-A64C-6E892A8512EB}"/>
          </ac:spMkLst>
        </pc:spChg>
        <pc:spChg chg="mod">
          <ac:chgData name="Ricardo Sérgio Souza e Sousa" userId="b2322a61-6b0f-42d2-a39f-a9a5f08999e4" providerId="ADAL" clId="{899E5016-84CF-47F4-B7D2-359D75C619A6}" dt="2022-06-20T14:38:19.431" v="399" actId="164"/>
          <ac:spMkLst>
            <pc:docMk/>
            <pc:sldMk cId="0" sldId="320"/>
            <ac:spMk id="60" creationId="{F66F7AFB-881C-4D8A-8482-DE34A3F90047}"/>
          </ac:spMkLst>
        </pc:spChg>
        <pc:grpChg chg="add mod">
          <ac:chgData name="Ricardo Sérgio Souza e Sousa" userId="b2322a61-6b0f-42d2-a39f-a9a5f08999e4" providerId="ADAL" clId="{899E5016-84CF-47F4-B7D2-359D75C619A6}" dt="2022-06-20T14:38:05.836" v="397" actId="164"/>
          <ac:grpSpMkLst>
            <pc:docMk/>
            <pc:sldMk cId="0" sldId="320"/>
            <ac:grpSpMk id="2" creationId="{9DFD0B01-37F1-D6B7-523C-CAFEE4E63614}"/>
          </ac:grpSpMkLst>
        </pc:grpChg>
        <pc:grpChg chg="add mod">
          <ac:chgData name="Ricardo Sérgio Souza e Sousa" userId="b2322a61-6b0f-42d2-a39f-a9a5f08999e4" providerId="ADAL" clId="{899E5016-84CF-47F4-B7D2-359D75C619A6}" dt="2022-06-20T14:38:19.431" v="399" actId="164"/>
          <ac:grpSpMkLst>
            <pc:docMk/>
            <pc:sldMk cId="0" sldId="320"/>
            <ac:grpSpMk id="3" creationId="{BB40EA95-6EAD-9E3D-A458-063580C35123}"/>
          </ac:grpSpMkLst>
        </pc:grpChg>
      </pc:sldChg>
      <pc:sldChg chg="del">
        <pc:chgData name="Ricardo Sérgio Souza e Sousa" userId="b2322a61-6b0f-42d2-a39f-a9a5f08999e4" providerId="ADAL" clId="{899E5016-84CF-47F4-B7D2-359D75C619A6}" dt="2022-06-20T14:47:13.778" v="510" actId="47"/>
        <pc:sldMkLst>
          <pc:docMk/>
          <pc:sldMk cId="0" sldId="321"/>
        </pc:sldMkLst>
      </pc:sldChg>
      <pc:sldChg chg="modSp mod">
        <pc:chgData name="Ricardo Sérgio Souza e Sousa" userId="b2322a61-6b0f-42d2-a39f-a9a5f08999e4" providerId="ADAL" clId="{899E5016-84CF-47F4-B7D2-359D75C619A6}" dt="2022-06-22T10:14:40.944" v="1356" actId="6549"/>
        <pc:sldMkLst>
          <pc:docMk/>
          <pc:sldMk cId="0" sldId="412"/>
        </pc:sldMkLst>
        <pc:spChg chg="mod">
          <ac:chgData name="Ricardo Sérgio Souza e Sousa" userId="b2322a61-6b0f-42d2-a39f-a9a5f08999e4" providerId="ADAL" clId="{899E5016-84CF-47F4-B7D2-359D75C619A6}" dt="2022-06-22T10:14:40.944" v="1356" actId="6549"/>
          <ac:spMkLst>
            <pc:docMk/>
            <pc:sldMk cId="0" sldId="412"/>
            <ac:spMk id="2" creationId="{00000000-0000-0000-0000-000000000000}"/>
          </ac:spMkLst>
        </pc:spChg>
      </pc:sldChg>
      <pc:sldChg chg="modSp mod">
        <pc:chgData name="Ricardo Sérgio Souza e Sousa" userId="b2322a61-6b0f-42d2-a39f-a9a5f08999e4" providerId="ADAL" clId="{899E5016-84CF-47F4-B7D2-359D75C619A6}" dt="2022-06-22T10:15:03.145" v="1357" actId="6549"/>
        <pc:sldMkLst>
          <pc:docMk/>
          <pc:sldMk cId="0" sldId="413"/>
        </pc:sldMkLst>
        <pc:spChg chg="mod">
          <ac:chgData name="Ricardo Sérgio Souza e Sousa" userId="b2322a61-6b0f-42d2-a39f-a9a5f08999e4" providerId="ADAL" clId="{899E5016-84CF-47F4-B7D2-359D75C619A6}" dt="2022-06-22T10:15:03.145" v="1357" actId="6549"/>
          <ac:spMkLst>
            <pc:docMk/>
            <pc:sldMk cId="0" sldId="413"/>
            <ac:spMk id="2" creationId="{00000000-0000-0000-0000-000000000000}"/>
          </ac:spMkLst>
        </pc:spChg>
      </pc:sldChg>
      <pc:sldChg chg="modSp mod">
        <pc:chgData name="Ricardo Sérgio Souza e Sousa" userId="b2322a61-6b0f-42d2-a39f-a9a5f08999e4" providerId="ADAL" clId="{899E5016-84CF-47F4-B7D2-359D75C619A6}" dt="2022-06-22T10:15:31.640" v="1358" actId="20577"/>
        <pc:sldMkLst>
          <pc:docMk/>
          <pc:sldMk cId="0" sldId="415"/>
        </pc:sldMkLst>
        <pc:spChg chg="mod">
          <ac:chgData name="Ricardo Sérgio Souza e Sousa" userId="b2322a61-6b0f-42d2-a39f-a9a5f08999e4" providerId="ADAL" clId="{899E5016-84CF-47F4-B7D2-359D75C619A6}" dt="2022-06-22T10:15:31.640" v="1358" actId="20577"/>
          <ac:spMkLst>
            <pc:docMk/>
            <pc:sldMk cId="0" sldId="415"/>
            <ac:spMk id="2" creationId="{00000000-0000-0000-0000-000000000000}"/>
          </ac:spMkLst>
        </pc:spChg>
      </pc:sldChg>
      <pc:sldChg chg="modSp mod">
        <pc:chgData name="Ricardo Sérgio Souza e Sousa" userId="b2322a61-6b0f-42d2-a39f-a9a5f08999e4" providerId="ADAL" clId="{899E5016-84CF-47F4-B7D2-359D75C619A6}" dt="2022-06-22T10:16:43.889" v="1366" actId="20577"/>
        <pc:sldMkLst>
          <pc:docMk/>
          <pc:sldMk cId="0" sldId="420"/>
        </pc:sldMkLst>
        <pc:spChg chg="mod">
          <ac:chgData name="Ricardo Sérgio Souza e Sousa" userId="b2322a61-6b0f-42d2-a39f-a9a5f08999e4" providerId="ADAL" clId="{899E5016-84CF-47F4-B7D2-359D75C619A6}" dt="2022-06-22T10:16:43.889" v="1366" actId="20577"/>
          <ac:spMkLst>
            <pc:docMk/>
            <pc:sldMk cId="0" sldId="420"/>
            <ac:spMk id="2" creationId="{00000000-0000-0000-0000-000000000000}"/>
          </ac:spMkLst>
        </pc:spChg>
      </pc:sldChg>
      <pc:sldChg chg="delSp mod delAnim">
        <pc:chgData name="Ricardo Sérgio Souza e Sousa" userId="b2322a61-6b0f-42d2-a39f-a9a5f08999e4" providerId="ADAL" clId="{899E5016-84CF-47F4-B7D2-359D75C619A6}" dt="2022-06-20T14:15:07.179" v="141" actId="478"/>
        <pc:sldMkLst>
          <pc:docMk/>
          <pc:sldMk cId="3304532676" sldId="472"/>
        </pc:sldMkLst>
        <pc:picChg chg="del">
          <ac:chgData name="Ricardo Sérgio Souza e Sousa" userId="b2322a61-6b0f-42d2-a39f-a9a5f08999e4" providerId="ADAL" clId="{899E5016-84CF-47F4-B7D2-359D75C619A6}" dt="2022-06-20T14:15:07.179" v="141" actId="478"/>
          <ac:picMkLst>
            <pc:docMk/>
            <pc:sldMk cId="3304532676" sldId="472"/>
            <ac:picMk id="9" creationId="{69EC0E06-12A7-4F9C-98C5-42540CFF9EF4}"/>
          </ac:picMkLst>
        </pc:picChg>
      </pc:sldChg>
      <pc:sldChg chg="modSp mod modAnim">
        <pc:chgData name="Ricardo Sérgio Souza e Sousa" userId="b2322a61-6b0f-42d2-a39f-a9a5f08999e4" providerId="ADAL" clId="{899E5016-84CF-47F4-B7D2-359D75C619A6}" dt="2022-06-20T14:16:57.839" v="155"/>
        <pc:sldMkLst>
          <pc:docMk/>
          <pc:sldMk cId="2116528502" sldId="475"/>
        </pc:sldMkLst>
        <pc:spChg chg="mod">
          <ac:chgData name="Ricardo Sérgio Souza e Sousa" userId="b2322a61-6b0f-42d2-a39f-a9a5f08999e4" providerId="ADAL" clId="{899E5016-84CF-47F4-B7D2-359D75C619A6}" dt="2022-06-20T14:13:41.033" v="136" actId="20577"/>
          <ac:spMkLst>
            <pc:docMk/>
            <pc:sldMk cId="2116528502" sldId="475"/>
            <ac:spMk id="8" creationId="{C1B9D129-07C7-4EB0-BC65-76BDBD9F544B}"/>
          </ac:spMkLst>
        </pc:spChg>
      </pc:sldChg>
      <pc:sldChg chg="modSp mod">
        <pc:chgData name="Ricardo Sérgio Souza e Sousa" userId="b2322a61-6b0f-42d2-a39f-a9a5f08999e4" providerId="ADAL" clId="{899E5016-84CF-47F4-B7D2-359D75C619A6}" dt="2022-06-20T14:47:45.833" v="563" actId="404"/>
        <pc:sldMkLst>
          <pc:docMk/>
          <pc:sldMk cId="2480849911" sldId="515"/>
        </pc:sldMkLst>
        <pc:spChg chg="mod">
          <ac:chgData name="Ricardo Sérgio Souza e Sousa" userId="b2322a61-6b0f-42d2-a39f-a9a5f08999e4" providerId="ADAL" clId="{899E5016-84CF-47F4-B7D2-359D75C619A6}" dt="2022-06-20T14:47:45.833" v="563" actId="404"/>
          <ac:spMkLst>
            <pc:docMk/>
            <pc:sldMk cId="2480849911" sldId="515"/>
            <ac:spMk id="73" creationId="{C4F03CED-0F41-48CA-A401-C8ACF86E3F3F}"/>
          </ac:spMkLst>
        </pc:spChg>
      </pc:sldChg>
      <pc:sldChg chg="delSp mod delAnim">
        <pc:chgData name="Ricardo Sérgio Souza e Sousa" userId="b2322a61-6b0f-42d2-a39f-a9a5f08999e4" providerId="ADAL" clId="{899E5016-84CF-47F4-B7D2-359D75C619A6}" dt="2022-06-20T14:15:14.026" v="142" actId="478"/>
        <pc:sldMkLst>
          <pc:docMk/>
          <pc:sldMk cId="1503316673" sldId="516"/>
        </pc:sldMkLst>
        <pc:picChg chg="del">
          <ac:chgData name="Ricardo Sérgio Souza e Sousa" userId="b2322a61-6b0f-42d2-a39f-a9a5f08999e4" providerId="ADAL" clId="{899E5016-84CF-47F4-B7D2-359D75C619A6}" dt="2022-06-20T14:15:14.026" v="142" actId="478"/>
          <ac:picMkLst>
            <pc:docMk/>
            <pc:sldMk cId="1503316673" sldId="516"/>
            <ac:picMk id="9" creationId="{69EC0E06-12A7-4F9C-98C5-42540CFF9EF4}"/>
          </ac:picMkLst>
        </pc:picChg>
      </pc:sldChg>
      <pc:sldChg chg="delSp mod delAnim">
        <pc:chgData name="Ricardo Sérgio Souza e Sousa" userId="b2322a61-6b0f-42d2-a39f-a9a5f08999e4" providerId="ADAL" clId="{899E5016-84CF-47F4-B7D2-359D75C619A6}" dt="2022-06-20T14:15:18.733" v="143" actId="478"/>
        <pc:sldMkLst>
          <pc:docMk/>
          <pc:sldMk cId="1554541207" sldId="521"/>
        </pc:sldMkLst>
        <pc:picChg chg="del">
          <ac:chgData name="Ricardo Sérgio Souza e Sousa" userId="b2322a61-6b0f-42d2-a39f-a9a5f08999e4" providerId="ADAL" clId="{899E5016-84CF-47F4-B7D2-359D75C619A6}" dt="2022-06-20T14:15:18.733" v="143" actId="478"/>
          <ac:picMkLst>
            <pc:docMk/>
            <pc:sldMk cId="1554541207" sldId="521"/>
            <ac:picMk id="9" creationId="{69EC0E06-12A7-4F9C-98C5-42540CFF9EF4}"/>
          </ac:picMkLst>
        </pc:picChg>
      </pc:sldChg>
      <pc:sldChg chg="delSp mod delAnim">
        <pc:chgData name="Ricardo Sérgio Souza e Sousa" userId="b2322a61-6b0f-42d2-a39f-a9a5f08999e4" providerId="ADAL" clId="{899E5016-84CF-47F4-B7D2-359D75C619A6}" dt="2022-06-20T14:15:22.919" v="144" actId="478"/>
        <pc:sldMkLst>
          <pc:docMk/>
          <pc:sldMk cId="4024457464" sldId="761"/>
        </pc:sldMkLst>
        <pc:picChg chg="del">
          <ac:chgData name="Ricardo Sérgio Souza e Sousa" userId="b2322a61-6b0f-42d2-a39f-a9a5f08999e4" providerId="ADAL" clId="{899E5016-84CF-47F4-B7D2-359D75C619A6}" dt="2022-06-20T14:15:22.919" v="144" actId="478"/>
          <ac:picMkLst>
            <pc:docMk/>
            <pc:sldMk cId="4024457464" sldId="761"/>
            <ac:picMk id="9" creationId="{69EC0E06-12A7-4F9C-98C5-42540CFF9EF4}"/>
          </ac:picMkLst>
        </pc:picChg>
      </pc:sldChg>
      <pc:sldChg chg="delSp mod delAnim">
        <pc:chgData name="Ricardo Sérgio Souza e Sousa" userId="b2322a61-6b0f-42d2-a39f-a9a5f08999e4" providerId="ADAL" clId="{899E5016-84CF-47F4-B7D2-359D75C619A6}" dt="2022-06-20T13:59:21.883" v="0" actId="478"/>
        <pc:sldMkLst>
          <pc:docMk/>
          <pc:sldMk cId="781821362" sldId="762"/>
        </pc:sldMkLst>
        <pc:picChg chg="del">
          <ac:chgData name="Ricardo Sérgio Souza e Sousa" userId="b2322a61-6b0f-42d2-a39f-a9a5f08999e4" providerId="ADAL" clId="{899E5016-84CF-47F4-B7D2-359D75C619A6}" dt="2022-06-20T13:59:21.883" v="0" actId="478"/>
          <ac:picMkLst>
            <pc:docMk/>
            <pc:sldMk cId="781821362" sldId="762"/>
            <ac:picMk id="9" creationId="{69EC0E06-12A7-4F9C-98C5-42540CFF9EF4}"/>
          </ac:picMkLst>
        </pc:picChg>
      </pc:sldChg>
      <pc:sldChg chg="delSp mod delAnim">
        <pc:chgData name="Ricardo Sérgio Souza e Sousa" userId="b2322a61-6b0f-42d2-a39f-a9a5f08999e4" providerId="ADAL" clId="{899E5016-84CF-47F4-B7D2-359D75C619A6}" dt="2022-06-20T14:15:38.626" v="146" actId="478"/>
        <pc:sldMkLst>
          <pc:docMk/>
          <pc:sldMk cId="765660171" sldId="763"/>
        </pc:sldMkLst>
        <pc:picChg chg="del">
          <ac:chgData name="Ricardo Sérgio Souza e Sousa" userId="b2322a61-6b0f-42d2-a39f-a9a5f08999e4" providerId="ADAL" clId="{899E5016-84CF-47F4-B7D2-359D75C619A6}" dt="2022-06-20T14:15:38.626" v="146" actId="478"/>
          <ac:picMkLst>
            <pc:docMk/>
            <pc:sldMk cId="765660171" sldId="763"/>
            <ac:picMk id="9" creationId="{69EC0E06-12A7-4F9C-98C5-42540CFF9EF4}"/>
          </ac:picMkLst>
        </pc:picChg>
      </pc:sldChg>
      <pc:sldChg chg="delSp mod delAnim">
        <pc:chgData name="Ricardo Sérgio Souza e Sousa" userId="b2322a61-6b0f-42d2-a39f-a9a5f08999e4" providerId="ADAL" clId="{899E5016-84CF-47F4-B7D2-359D75C619A6}" dt="2022-06-20T14:15:55.880" v="149" actId="478"/>
        <pc:sldMkLst>
          <pc:docMk/>
          <pc:sldMk cId="191353228" sldId="765"/>
        </pc:sldMkLst>
        <pc:picChg chg="del">
          <ac:chgData name="Ricardo Sérgio Souza e Sousa" userId="b2322a61-6b0f-42d2-a39f-a9a5f08999e4" providerId="ADAL" clId="{899E5016-84CF-47F4-B7D2-359D75C619A6}" dt="2022-06-20T14:15:55.880" v="149" actId="478"/>
          <ac:picMkLst>
            <pc:docMk/>
            <pc:sldMk cId="191353228" sldId="765"/>
            <ac:picMk id="9" creationId="{69EC0E06-12A7-4F9C-98C5-42540CFF9EF4}"/>
          </ac:picMkLst>
        </pc:picChg>
      </pc:sldChg>
      <pc:sldChg chg="delSp mod delAnim">
        <pc:chgData name="Ricardo Sérgio Souza e Sousa" userId="b2322a61-6b0f-42d2-a39f-a9a5f08999e4" providerId="ADAL" clId="{899E5016-84CF-47F4-B7D2-359D75C619A6}" dt="2022-06-20T14:16:01.341" v="150" actId="478"/>
        <pc:sldMkLst>
          <pc:docMk/>
          <pc:sldMk cId="2110046002" sldId="766"/>
        </pc:sldMkLst>
        <pc:picChg chg="del">
          <ac:chgData name="Ricardo Sérgio Souza e Sousa" userId="b2322a61-6b0f-42d2-a39f-a9a5f08999e4" providerId="ADAL" clId="{899E5016-84CF-47F4-B7D2-359D75C619A6}" dt="2022-06-20T14:16:01.341" v="150" actId="478"/>
          <ac:picMkLst>
            <pc:docMk/>
            <pc:sldMk cId="2110046002" sldId="766"/>
            <ac:picMk id="9" creationId="{69EC0E06-12A7-4F9C-98C5-42540CFF9EF4}"/>
          </ac:picMkLst>
        </pc:picChg>
      </pc:sldChg>
      <pc:sldChg chg="delSp mod delAnim">
        <pc:chgData name="Ricardo Sérgio Souza e Sousa" userId="b2322a61-6b0f-42d2-a39f-a9a5f08999e4" providerId="ADAL" clId="{899E5016-84CF-47F4-B7D2-359D75C619A6}" dt="2022-06-20T14:16:05.753" v="151" actId="478"/>
        <pc:sldMkLst>
          <pc:docMk/>
          <pc:sldMk cId="3309384338" sldId="767"/>
        </pc:sldMkLst>
        <pc:picChg chg="del">
          <ac:chgData name="Ricardo Sérgio Souza e Sousa" userId="b2322a61-6b0f-42d2-a39f-a9a5f08999e4" providerId="ADAL" clId="{899E5016-84CF-47F4-B7D2-359D75C619A6}" dt="2022-06-20T14:16:05.753" v="151" actId="478"/>
          <ac:picMkLst>
            <pc:docMk/>
            <pc:sldMk cId="3309384338" sldId="767"/>
            <ac:picMk id="9" creationId="{69EC0E06-12A7-4F9C-98C5-42540CFF9EF4}"/>
          </ac:picMkLst>
        </pc:picChg>
      </pc:sldChg>
      <pc:sldChg chg="delSp mod delAnim">
        <pc:chgData name="Ricardo Sérgio Souza e Sousa" userId="b2322a61-6b0f-42d2-a39f-a9a5f08999e4" providerId="ADAL" clId="{899E5016-84CF-47F4-B7D2-359D75C619A6}" dt="2022-06-20T14:16:09.385" v="152" actId="478"/>
        <pc:sldMkLst>
          <pc:docMk/>
          <pc:sldMk cId="3817352915" sldId="768"/>
        </pc:sldMkLst>
        <pc:picChg chg="del">
          <ac:chgData name="Ricardo Sérgio Souza e Sousa" userId="b2322a61-6b0f-42d2-a39f-a9a5f08999e4" providerId="ADAL" clId="{899E5016-84CF-47F4-B7D2-359D75C619A6}" dt="2022-06-20T14:16:09.385" v="152" actId="478"/>
          <ac:picMkLst>
            <pc:docMk/>
            <pc:sldMk cId="3817352915" sldId="768"/>
            <ac:picMk id="9" creationId="{69EC0E06-12A7-4F9C-98C5-42540CFF9EF4}"/>
          </ac:picMkLst>
        </pc:picChg>
      </pc:sldChg>
      <pc:sldChg chg="delSp mod delAnim">
        <pc:chgData name="Ricardo Sérgio Souza e Sousa" userId="b2322a61-6b0f-42d2-a39f-a9a5f08999e4" providerId="ADAL" clId="{899E5016-84CF-47F4-B7D2-359D75C619A6}" dt="2022-06-20T14:16:14.494" v="153" actId="478"/>
        <pc:sldMkLst>
          <pc:docMk/>
          <pc:sldMk cId="3959300782" sldId="769"/>
        </pc:sldMkLst>
        <pc:picChg chg="del">
          <ac:chgData name="Ricardo Sérgio Souza e Sousa" userId="b2322a61-6b0f-42d2-a39f-a9a5f08999e4" providerId="ADAL" clId="{899E5016-84CF-47F4-B7D2-359D75C619A6}" dt="2022-06-20T14:16:14.494" v="153" actId="478"/>
          <ac:picMkLst>
            <pc:docMk/>
            <pc:sldMk cId="3959300782" sldId="769"/>
            <ac:picMk id="9" creationId="{69EC0E06-12A7-4F9C-98C5-42540CFF9EF4}"/>
          </ac:picMkLst>
        </pc:picChg>
      </pc:sldChg>
      <pc:sldChg chg="delSp mod delAnim">
        <pc:chgData name="Ricardo Sérgio Souza e Sousa" userId="b2322a61-6b0f-42d2-a39f-a9a5f08999e4" providerId="ADAL" clId="{899E5016-84CF-47F4-B7D2-359D75C619A6}" dt="2022-06-20T14:14:58.213" v="140" actId="478"/>
        <pc:sldMkLst>
          <pc:docMk/>
          <pc:sldMk cId="128681420" sldId="770"/>
        </pc:sldMkLst>
        <pc:picChg chg="del">
          <ac:chgData name="Ricardo Sérgio Souza e Sousa" userId="b2322a61-6b0f-42d2-a39f-a9a5f08999e4" providerId="ADAL" clId="{899E5016-84CF-47F4-B7D2-359D75C619A6}" dt="2022-06-20T14:14:58.213" v="140" actId="478"/>
          <ac:picMkLst>
            <pc:docMk/>
            <pc:sldMk cId="128681420" sldId="770"/>
            <ac:picMk id="9" creationId="{69EC0E06-12A7-4F9C-98C5-42540CFF9EF4}"/>
          </ac:picMkLst>
        </pc:picChg>
      </pc:sldChg>
      <pc:sldChg chg="modSp mod ord">
        <pc:chgData name="Ricardo Sérgio Souza e Sousa" userId="b2322a61-6b0f-42d2-a39f-a9a5f08999e4" providerId="ADAL" clId="{899E5016-84CF-47F4-B7D2-359D75C619A6}" dt="2022-06-20T14:46:02.911" v="508" actId="20577"/>
        <pc:sldMkLst>
          <pc:docMk/>
          <pc:sldMk cId="2196981727" sldId="16680"/>
        </pc:sldMkLst>
        <pc:spChg chg="mod">
          <ac:chgData name="Ricardo Sérgio Souza e Sousa" userId="b2322a61-6b0f-42d2-a39f-a9a5f08999e4" providerId="ADAL" clId="{899E5016-84CF-47F4-B7D2-359D75C619A6}" dt="2022-06-20T14:46:02.911" v="508" actId="20577"/>
          <ac:spMkLst>
            <pc:docMk/>
            <pc:sldMk cId="2196981727" sldId="16680"/>
            <ac:spMk id="35844" creationId="{00000000-0000-0000-0000-000000000000}"/>
          </ac:spMkLst>
        </pc:spChg>
      </pc:sldChg>
      <pc:sldChg chg="delSp mod delAnim">
        <pc:chgData name="Ricardo Sérgio Souza e Sousa" userId="b2322a61-6b0f-42d2-a39f-a9a5f08999e4" providerId="ADAL" clId="{899E5016-84CF-47F4-B7D2-359D75C619A6}" dt="2022-06-20T14:15:45.696" v="147" actId="478"/>
        <pc:sldMkLst>
          <pc:docMk/>
          <pc:sldMk cId="3497553340" sldId="16683"/>
        </pc:sldMkLst>
        <pc:picChg chg="del">
          <ac:chgData name="Ricardo Sérgio Souza e Sousa" userId="b2322a61-6b0f-42d2-a39f-a9a5f08999e4" providerId="ADAL" clId="{899E5016-84CF-47F4-B7D2-359D75C619A6}" dt="2022-06-20T14:15:45.696" v="147" actId="478"/>
          <ac:picMkLst>
            <pc:docMk/>
            <pc:sldMk cId="3497553340" sldId="16683"/>
            <ac:picMk id="9" creationId="{69EC0E06-12A7-4F9C-98C5-42540CFF9EF4}"/>
          </ac:picMkLst>
        </pc:picChg>
      </pc:sldChg>
      <pc:sldChg chg="delSp mod delAnim">
        <pc:chgData name="Ricardo Sérgio Souza e Sousa" userId="b2322a61-6b0f-42d2-a39f-a9a5f08999e4" providerId="ADAL" clId="{899E5016-84CF-47F4-B7D2-359D75C619A6}" dt="2022-06-20T14:15:51.706" v="148" actId="478"/>
        <pc:sldMkLst>
          <pc:docMk/>
          <pc:sldMk cId="4051024138" sldId="16685"/>
        </pc:sldMkLst>
        <pc:picChg chg="del">
          <ac:chgData name="Ricardo Sérgio Souza e Sousa" userId="b2322a61-6b0f-42d2-a39f-a9a5f08999e4" providerId="ADAL" clId="{899E5016-84CF-47F4-B7D2-359D75C619A6}" dt="2022-06-20T14:15:51.706" v="148" actId="478"/>
          <ac:picMkLst>
            <pc:docMk/>
            <pc:sldMk cId="4051024138" sldId="16685"/>
            <ac:picMk id="9" creationId="{69EC0E06-12A7-4F9C-98C5-42540CFF9EF4}"/>
          </ac:picMkLst>
        </pc:picChg>
      </pc:sldChg>
      <pc:sldChg chg="delSp mod delAnim">
        <pc:chgData name="Ricardo Sérgio Souza e Sousa" userId="b2322a61-6b0f-42d2-a39f-a9a5f08999e4" providerId="ADAL" clId="{899E5016-84CF-47F4-B7D2-359D75C619A6}" dt="2022-06-20T14:15:32.521" v="145" actId="478"/>
        <pc:sldMkLst>
          <pc:docMk/>
          <pc:sldMk cId="2714828299" sldId="16691"/>
        </pc:sldMkLst>
        <pc:picChg chg="del">
          <ac:chgData name="Ricardo Sérgio Souza e Sousa" userId="b2322a61-6b0f-42d2-a39f-a9a5f08999e4" providerId="ADAL" clId="{899E5016-84CF-47F4-B7D2-359D75C619A6}" dt="2022-06-20T14:15:32.521" v="145" actId="478"/>
          <ac:picMkLst>
            <pc:docMk/>
            <pc:sldMk cId="2714828299" sldId="16691"/>
            <ac:picMk id="9" creationId="{69EC0E06-12A7-4F9C-98C5-42540CFF9EF4}"/>
          </ac:picMkLst>
        </pc:picChg>
      </pc:sldChg>
      <pc:sldChg chg="addSp delSp modSp add mod">
        <pc:chgData name="Ricardo Sérgio Souza e Sousa" userId="b2322a61-6b0f-42d2-a39f-a9a5f08999e4" providerId="ADAL" clId="{899E5016-84CF-47F4-B7D2-359D75C619A6}" dt="2022-06-20T14:49:33.150" v="1145"/>
        <pc:sldMkLst>
          <pc:docMk/>
          <pc:sldMk cId="3240296426" sldId="16701"/>
        </pc:sldMkLst>
        <pc:spChg chg="add del mod modVis">
          <ac:chgData name="Ricardo Sérgio Souza e Sousa" userId="b2322a61-6b0f-42d2-a39f-a9a5f08999e4" providerId="ADAL" clId="{899E5016-84CF-47F4-B7D2-359D75C619A6}" dt="2022-06-20T14:49:27.443" v="961" actId="962"/>
          <ac:spMkLst>
            <pc:docMk/>
            <pc:sldMk cId="3240296426" sldId="16701"/>
            <ac:spMk id="2" creationId="{67413EB3-1B35-CF06-2A60-01EF16992DF9}"/>
          </ac:spMkLst>
        </pc:spChg>
        <pc:spChg chg="add del mod modVis">
          <ac:chgData name="Ricardo Sérgio Souza e Sousa" userId="b2322a61-6b0f-42d2-a39f-a9a5f08999e4" providerId="ADAL" clId="{899E5016-84CF-47F4-B7D2-359D75C619A6}" dt="2022-06-20T14:49:33.147" v="1143"/>
          <ac:spMkLst>
            <pc:docMk/>
            <pc:sldMk cId="3240296426" sldId="16701"/>
            <ac:spMk id="4" creationId="{A0B2C994-6942-FE6E-F851-64F982E6668D}"/>
          </ac:spMkLst>
        </pc:spChg>
        <pc:spChg chg="mod">
          <ac:chgData name="Ricardo Sérgio Souza e Sousa" userId="b2322a61-6b0f-42d2-a39f-a9a5f08999e4" providerId="ADAL" clId="{899E5016-84CF-47F4-B7D2-359D75C619A6}" dt="2022-06-20T14:48:57.555" v="607" actId="20577"/>
          <ac:spMkLst>
            <pc:docMk/>
            <pc:sldMk cId="3240296426" sldId="16701"/>
            <ac:spMk id="5" creationId="{A866570B-1E8C-4A89-BC61-32A3CF971F71}"/>
          </ac:spMkLst>
        </pc:spChg>
        <pc:spChg chg="mod">
          <ac:chgData name="Ricardo Sérgio Souza e Sousa" userId="b2322a61-6b0f-42d2-a39f-a9a5f08999e4" providerId="ADAL" clId="{899E5016-84CF-47F4-B7D2-359D75C619A6}" dt="2022-06-20T14:49:32.978" v="967" actId="948"/>
          <ac:spMkLst>
            <pc:docMk/>
            <pc:sldMk cId="3240296426" sldId="16701"/>
            <ac:spMk id="30723" creationId="{00000000-0000-0000-0000-000000000000}"/>
          </ac:spMkLst>
        </pc:spChg>
        <pc:graphicFrameChg chg="mod">
          <ac:chgData name="Ricardo Sérgio Souza e Sousa" userId="b2322a61-6b0f-42d2-a39f-a9a5f08999e4" providerId="ADAL" clId="{899E5016-84CF-47F4-B7D2-359D75C619A6}" dt="2022-06-20T14:49:33.150" v="1145"/>
          <ac:graphicFrameMkLst>
            <pc:docMk/>
            <pc:sldMk cId="3240296426" sldId="16701"/>
            <ac:graphicFrameMk id="3" creationId="{A075FFD7-7726-46E9-AF53-639B3D7F2E47}"/>
          </ac:graphicFrameMkLst>
        </pc:graphicFrameChg>
      </pc:sldChg>
      <pc:sldChg chg="modSp add mod">
        <pc:chgData name="Ricardo Sérgio Souza e Sousa" userId="b2322a61-6b0f-42d2-a39f-a9a5f08999e4" providerId="ADAL" clId="{899E5016-84CF-47F4-B7D2-359D75C619A6}" dt="2022-06-20T14:52:33.713" v="1217" actId="1076"/>
        <pc:sldMkLst>
          <pc:docMk/>
          <pc:sldMk cId="967701466" sldId="16702"/>
        </pc:sldMkLst>
        <pc:spChg chg="mod">
          <ac:chgData name="Ricardo Sérgio Souza e Sousa" userId="b2322a61-6b0f-42d2-a39f-a9a5f08999e4" providerId="ADAL" clId="{899E5016-84CF-47F4-B7D2-359D75C619A6}" dt="2022-06-20T14:51:30.274" v="1177" actId="20577"/>
          <ac:spMkLst>
            <pc:docMk/>
            <pc:sldMk cId="967701466" sldId="16702"/>
            <ac:spMk id="5" creationId="{B6CDB543-2901-4148-99DA-E4521367FD23}"/>
          </ac:spMkLst>
        </pc:spChg>
        <pc:spChg chg="mod">
          <ac:chgData name="Ricardo Sérgio Souza e Sousa" userId="b2322a61-6b0f-42d2-a39f-a9a5f08999e4" providerId="ADAL" clId="{899E5016-84CF-47F4-B7D2-359D75C619A6}" dt="2022-06-20T14:52:33.713" v="1217" actId="1076"/>
          <ac:spMkLst>
            <pc:docMk/>
            <pc:sldMk cId="967701466" sldId="16702"/>
            <ac:spMk id="35844" creationId="{00000000-0000-0000-0000-000000000000}"/>
          </ac:spMkLst>
        </pc:spChg>
      </pc:sldChg>
    </pc:docChg>
  </pc:docChgLst>
  <pc:docChgLst>
    <pc:chgData name="Ricardo Sérgio Souza e Sousa" userId="b2322a61-6b0f-42d2-a39f-a9a5f08999e4" providerId="ADAL" clId="{25EE2DC7-8C5C-4F63-998F-1F86BD0006F9}"/>
    <pc:docChg chg="undo custSel addSld delSld modSld">
      <pc:chgData name="Ricardo Sérgio Souza e Sousa" userId="b2322a61-6b0f-42d2-a39f-a9a5f08999e4" providerId="ADAL" clId="{25EE2DC7-8C5C-4F63-998F-1F86BD0006F9}" dt="2022-05-27T12:11:14.594" v="779" actId="403"/>
      <pc:docMkLst>
        <pc:docMk/>
      </pc:docMkLst>
      <pc:sldChg chg="modSp mod">
        <pc:chgData name="Ricardo Sérgio Souza e Sousa" userId="b2322a61-6b0f-42d2-a39f-a9a5f08999e4" providerId="ADAL" clId="{25EE2DC7-8C5C-4F63-998F-1F86BD0006F9}" dt="2022-05-23T10:37:38.354" v="10" actId="20577"/>
        <pc:sldMkLst>
          <pc:docMk/>
          <pc:sldMk cId="2116528502" sldId="475"/>
        </pc:sldMkLst>
        <pc:spChg chg="mod">
          <ac:chgData name="Ricardo Sérgio Souza e Sousa" userId="b2322a61-6b0f-42d2-a39f-a9a5f08999e4" providerId="ADAL" clId="{25EE2DC7-8C5C-4F63-998F-1F86BD0006F9}" dt="2022-05-23T10:37:38.354" v="10" actId="20577"/>
          <ac:spMkLst>
            <pc:docMk/>
            <pc:sldMk cId="2116528502" sldId="475"/>
            <ac:spMk id="8" creationId="{C1B9D129-07C7-4EB0-BC65-76BDBD9F544B}"/>
          </ac:spMkLst>
        </pc:spChg>
      </pc:sldChg>
      <pc:sldChg chg="addSp delSp modSp del mod">
        <pc:chgData name="Ricardo Sérgio Souza e Sousa" userId="b2322a61-6b0f-42d2-a39f-a9a5f08999e4" providerId="ADAL" clId="{25EE2DC7-8C5C-4F63-998F-1F86BD0006F9}" dt="2022-05-23T11:12:51.085" v="36" actId="47"/>
        <pc:sldMkLst>
          <pc:docMk/>
          <pc:sldMk cId="3966786805" sldId="764"/>
        </pc:sldMkLst>
        <pc:spChg chg="del mod">
          <ac:chgData name="Ricardo Sérgio Souza e Sousa" userId="b2322a61-6b0f-42d2-a39f-a9a5f08999e4" providerId="ADAL" clId="{25EE2DC7-8C5C-4F63-998F-1F86BD0006F9}" dt="2022-05-23T11:12:14.184" v="32" actId="478"/>
          <ac:spMkLst>
            <pc:docMk/>
            <pc:sldMk cId="3966786805" sldId="764"/>
            <ac:spMk id="2" creationId="{00000000-0000-0000-0000-000000000000}"/>
          </ac:spMkLst>
        </pc:spChg>
        <pc:spChg chg="add mod">
          <ac:chgData name="Ricardo Sérgio Souza e Sousa" userId="b2322a61-6b0f-42d2-a39f-a9a5f08999e4" providerId="ADAL" clId="{25EE2DC7-8C5C-4F63-998F-1F86BD0006F9}" dt="2022-05-23T11:12:17.528" v="33"/>
          <ac:spMkLst>
            <pc:docMk/>
            <pc:sldMk cId="3966786805" sldId="764"/>
            <ac:spMk id="7" creationId="{76B7D1C8-A64B-F1D2-2439-6EC359FC36DF}"/>
          </ac:spMkLst>
        </pc:spChg>
        <pc:picChg chg="del">
          <ac:chgData name="Ricardo Sérgio Souza e Sousa" userId="b2322a61-6b0f-42d2-a39f-a9a5f08999e4" providerId="ADAL" clId="{25EE2DC7-8C5C-4F63-998F-1F86BD0006F9}" dt="2022-05-23T11:12:23.365" v="34" actId="478"/>
          <ac:picMkLst>
            <pc:docMk/>
            <pc:sldMk cId="3966786805" sldId="764"/>
            <ac:picMk id="4" creationId="{4F672C2A-57BD-4192-8F5E-642D875B32D4}"/>
          </ac:picMkLst>
        </pc:picChg>
      </pc:sldChg>
      <pc:sldChg chg="add del">
        <pc:chgData name="Ricardo Sérgio Souza e Sousa" userId="b2322a61-6b0f-42d2-a39f-a9a5f08999e4" providerId="ADAL" clId="{25EE2DC7-8C5C-4F63-998F-1F86BD0006F9}" dt="2022-05-27T12:06:06.128" v="768" actId="2696"/>
        <pc:sldMkLst>
          <pc:docMk/>
          <pc:sldMk cId="374348447" sldId="781"/>
        </pc:sldMkLst>
      </pc:sldChg>
      <pc:sldChg chg="add">
        <pc:chgData name="Ricardo Sérgio Souza e Sousa" userId="b2322a61-6b0f-42d2-a39f-a9a5f08999e4" providerId="ADAL" clId="{25EE2DC7-8C5C-4F63-998F-1F86BD0006F9}" dt="2022-05-27T12:06:09.290" v="769"/>
        <pc:sldMkLst>
          <pc:docMk/>
          <pc:sldMk cId="2580215943" sldId="781"/>
        </pc:sldMkLst>
      </pc:sldChg>
      <pc:sldChg chg="del">
        <pc:chgData name="Ricardo Sérgio Souza e Sousa" userId="b2322a61-6b0f-42d2-a39f-a9a5f08999e4" providerId="ADAL" clId="{25EE2DC7-8C5C-4F63-998F-1F86BD0006F9}" dt="2022-05-27T12:05:05.500" v="764" actId="2696"/>
        <pc:sldMkLst>
          <pc:docMk/>
          <pc:sldMk cId="3053328555" sldId="781"/>
        </pc:sldMkLst>
      </pc:sldChg>
      <pc:sldChg chg="add del">
        <pc:chgData name="Ricardo Sérgio Souza e Sousa" userId="b2322a61-6b0f-42d2-a39f-a9a5f08999e4" providerId="ADAL" clId="{25EE2DC7-8C5C-4F63-998F-1F86BD0006F9}" dt="2022-05-27T12:05:46.814" v="766" actId="2696"/>
        <pc:sldMkLst>
          <pc:docMk/>
          <pc:sldMk cId="4116604537" sldId="781"/>
        </pc:sldMkLst>
      </pc:sldChg>
      <pc:sldChg chg="modSp mod">
        <pc:chgData name="Ricardo Sérgio Souza e Sousa" userId="b2322a61-6b0f-42d2-a39f-a9a5f08999e4" providerId="ADAL" clId="{25EE2DC7-8C5C-4F63-998F-1F86BD0006F9}" dt="2022-05-23T11:28:09.407" v="368" actId="20577"/>
        <pc:sldMkLst>
          <pc:docMk/>
          <pc:sldMk cId="3462309141" sldId="16682"/>
        </pc:sldMkLst>
        <pc:spChg chg="mod">
          <ac:chgData name="Ricardo Sérgio Souza e Sousa" userId="b2322a61-6b0f-42d2-a39f-a9a5f08999e4" providerId="ADAL" clId="{25EE2DC7-8C5C-4F63-998F-1F86BD0006F9}" dt="2022-05-23T11:28:09.407" v="368" actId="20577"/>
          <ac:spMkLst>
            <pc:docMk/>
            <pc:sldMk cId="3462309141" sldId="16682"/>
            <ac:spMk id="8" creationId="{C1B9D129-07C7-4EB0-BC65-76BDBD9F544B}"/>
          </ac:spMkLst>
        </pc:spChg>
      </pc:sldChg>
      <pc:sldChg chg="del">
        <pc:chgData name="Ricardo Sérgio Souza e Sousa" userId="b2322a61-6b0f-42d2-a39f-a9a5f08999e4" providerId="ADAL" clId="{25EE2DC7-8C5C-4F63-998F-1F86BD0006F9}" dt="2022-05-23T11:19:38.104" v="237" actId="2696"/>
        <pc:sldMkLst>
          <pc:docMk/>
          <pc:sldMk cId="3929920353" sldId="16686"/>
        </pc:sldMkLst>
      </pc:sldChg>
      <pc:sldChg chg="add del">
        <pc:chgData name="Ricardo Sérgio Souza e Sousa" userId="b2322a61-6b0f-42d2-a39f-a9a5f08999e4" providerId="ADAL" clId="{25EE2DC7-8C5C-4F63-998F-1F86BD0006F9}" dt="2022-05-23T11:21:11.397" v="242"/>
        <pc:sldMkLst>
          <pc:docMk/>
          <pc:sldMk cId="4124988730" sldId="16686"/>
        </pc:sldMkLst>
      </pc:sldChg>
      <pc:sldChg chg="add del">
        <pc:chgData name="Ricardo Sérgio Souza e Sousa" userId="b2322a61-6b0f-42d2-a39f-a9a5f08999e4" providerId="ADAL" clId="{25EE2DC7-8C5C-4F63-998F-1F86BD0006F9}" dt="2022-05-23T11:20:21.296" v="239" actId="2696"/>
        <pc:sldMkLst>
          <pc:docMk/>
          <pc:sldMk cId="4162588670" sldId="16686"/>
        </pc:sldMkLst>
      </pc:sldChg>
      <pc:sldChg chg="add del">
        <pc:chgData name="Ricardo Sérgio Souza e Sousa" userId="b2322a61-6b0f-42d2-a39f-a9a5f08999e4" providerId="ADAL" clId="{25EE2DC7-8C5C-4F63-998F-1F86BD0006F9}" dt="2022-05-23T11:21:11.397" v="242"/>
        <pc:sldMkLst>
          <pc:docMk/>
          <pc:sldMk cId="1754362738" sldId="16687"/>
        </pc:sldMkLst>
      </pc:sldChg>
      <pc:sldChg chg="del">
        <pc:chgData name="Ricardo Sérgio Souza e Sousa" userId="b2322a61-6b0f-42d2-a39f-a9a5f08999e4" providerId="ADAL" clId="{25EE2DC7-8C5C-4F63-998F-1F86BD0006F9}" dt="2022-05-23T11:19:38.104" v="237" actId="2696"/>
        <pc:sldMkLst>
          <pc:docMk/>
          <pc:sldMk cId="3100852214" sldId="16687"/>
        </pc:sldMkLst>
      </pc:sldChg>
      <pc:sldChg chg="add del">
        <pc:chgData name="Ricardo Sérgio Souza e Sousa" userId="b2322a61-6b0f-42d2-a39f-a9a5f08999e4" providerId="ADAL" clId="{25EE2DC7-8C5C-4F63-998F-1F86BD0006F9}" dt="2022-05-23T11:20:21.296" v="239" actId="2696"/>
        <pc:sldMkLst>
          <pc:docMk/>
          <pc:sldMk cId="4077504239" sldId="16687"/>
        </pc:sldMkLst>
      </pc:sldChg>
      <pc:sldChg chg="add del">
        <pc:chgData name="Ricardo Sérgio Souza e Sousa" userId="b2322a61-6b0f-42d2-a39f-a9a5f08999e4" providerId="ADAL" clId="{25EE2DC7-8C5C-4F63-998F-1F86BD0006F9}" dt="2022-05-23T11:20:21.296" v="239" actId="2696"/>
        <pc:sldMkLst>
          <pc:docMk/>
          <pc:sldMk cId="382334182" sldId="16688"/>
        </pc:sldMkLst>
      </pc:sldChg>
      <pc:sldChg chg="del">
        <pc:chgData name="Ricardo Sérgio Souza e Sousa" userId="b2322a61-6b0f-42d2-a39f-a9a5f08999e4" providerId="ADAL" clId="{25EE2DC7-8C5C-4F63-998F-1F86BD0006F9}" dt="2022-05-23T11:19:38.104" v="237" actId="2696"/>
        <pc:sldMkLst>
          <pc:docMk/>
          <pc:sldMk cId="790595336" sldId="16688"/>
        </pc:sldMkLst>
      </pc:sldChg>
      <pc:sldChg chg="add del">
        <pc:chgData name="Ricardo Sérgio Souza e Sousa" userId="b2322a61-6b0f-42d2-a39f-a9a5f08999e4" providerId="ADAL" clId="{25EE2DC7-8C5C-4F63-998F-1F86BD0006F9}" dt="2022-05-23T11:21:11.397" v="242"/>
        <pc:sldMkLst>
          <pc:docMk/>
          <pc:sldMk cId="4123349569" sldId="16688"/>
        </pc:sldMkLst>
      </pc:sldChg>
      <pc:sldChg chg="add del">
        <pc:chgData name="Ricardo Sérgio Souza e Sousa" userId="b2322a61-6b0f-42d2-a39f-a9a5f08999e4" providerId="ADAL" clId="{25EE2DC7-8C5C-4F63-998F-1F86BD0006F9}" dt="2022-05-23T11:21:11.397" v="242"/>
        <pc:sldMkLst>
          <pc:docMk/>
          <pc:sldMk cId="1723996531" sldId="16689"/>
        </pc:sldMkLst>
      </pc:sldChg>
      <pc:sldChg chg="add del">
        <pc:chgData name="Ricardo Sérgio Souza e Sousa" userId="b2322a61-6b0f-42d2-a39f-a9a5f08999e4" providerId="ADAL" clId="{25EE2DC7-8C5C-4F63-998F-1F86BD0006F9}" dt="2022-05-23T11:20:21.296" v="239" actId="2696"/>
        <pc:sldMkLst>
          <pc:docMk/>
          <pc:sldMk cId="3145611174" sldId="16689"/>
        </pc:sldMkLst>
      </pc:sldChg>
      <pc:sldChg chg="del">
        <pc:chgData name="Ricardo Sérgio Souza e Sousa" userId="b2322a61-6b0f-42d2-a39f-a9a5f08999e4" providerId="ADAL" clId="{25EE2DC7-8C5C-4F63-998F-1F86BD0006F9}" dt="2022-05-23T11:19:38.104" v="237" actId="2696"/>
        <pc:sldMkLst>
          <pc:docMk/>
          <pc:sldMk cId="4033710926" sldId="16689"/>
        </pc:sldMkLst>
      </pc:sldChg>
      <pc:sldChg chg="add del">
        <pc:chgData name="Ricardo Sérgio Souza e Sousa" userId="b2322a61-6b0f-42d2-a39f-a9a5f08999e4" providerId="ADAL" clId="{25EE2DC7-8C5C-4F63-998F-1F86BD0006F9}" dt="2022-05-23T11:20:21.296" v="239" actId="2696"/>
        <pc:sldMkLst>
          <pc:docMk/>
          <pc:sldMk cId="1845738776" sldId="16691"/>
        </pc:sldMkLst>
      </pc:sldChg>
      <pc:sldChg chg="modSp add del mod">
        <pc:chgData name="Ricardo Sérgio Souza e Sousa" userId="b2322a61-6b0f-42d2-a39f-a9a5f08999e4" providerId="ADAL" clId="{25EE2DC7-8C5C-4F63-998F-1F86BD0006F9}" dt="2022-05-23T11:21:11.425" v="244"/>
        <pc:sldMkLst>
          <pc:docMk/>
          <pc:sldMk cId="2714828299" sldId="16691"/>
        </pc:sldMkLst>
        <pc:graphicFrameChg chg="mod">
          <ac:chgData name="Ricardo Sérgio Souza e Sousa" userId="b2322a61-6b0f-42d2-a39f-a9a5f08999e4" providerId="ADAL" clId="{25EE2DC7-8C5C-4F63-998F-1F86BD0006F9}" dt="2022-05-23T11:21:11.425" v="244"/>
          <ac:graphicFrameMkLst>
            <pc:docMk/>
            <pc:sldMk cId="2714828299" sldId="16691"/>
            <ac:graphicFrameMk id="5" creationId="{5F5C7E1B-2188-4080-9090-62CCB213A496}"/>
          </ac:graphicFrameMkLst>
        </pc:graphicFrameChg>
      </pc:sldChg>
      <pc:sldChg chg="modSp add del mod">
        <pc:chgData name="Ricardo Sérgio Souza e Sousa" userId="b2322a61-6b0f-42d2-a39f-a9a5f08999e4" providerId="ADAL" clId="{25EE2DC7-8C5C-4F63-998F-1F86BD0006F9}" dt="2022-05-23T11:19:38.104" v="237" actId="2696"/>
        <pc:sldMkLst>
          <pc:docMk/>
          <pc:sldMk cId="3808771492" sldId="16691"/>
        </pc:sldMkLst>
        <pc:spChg chg="mod">
          <ac:chgData name="Ricardo Sérgio Souza e Sousa" userId="b2322a61-6b0f-42d2-a39f-a9a5f08999e4" providerId="ADAL" clId="{25EE2DC7-8C5C-4F63-998F-1F86BD0006F9}" dt="2022-05-23T11:12:57.508" v="57" actId="20577"/>
          <ac:spMkLst>
            <pc:docMk/>
            <pc:sldMk cId="3808771492" sldId="16691"/>
            <ac:spMk id="2" creationId="{00000000-0000-0000-0000-000000000000}"/>
          </ac:spMkLst>
        </pc:spChg>
      </pc:sldChg>
      <pc:sldChg chg="delSp modSp add del mod">
        <pc:chgData name="Ricardo Sérgio Souza e Sousa" userId="b2322a61-6b0f-42d2-a39f-a9a5f08999e4" providerId="ADAL" clId="{25EE2DC7-8C5C-4F63-998F-1F86BD0006F9}" dt="2022-05-27T12:05:05.500" v="764" actId="2696"/>
        <pc:sldMkLst>
          <pc:docMk/>
          <pc:sldMk cId="297421368" sldId="16692"/>
        </pc:sldMkLst>
        <pc:spChg chg="mod">
          <ac:chgData name="Ricardo Sérgio Souza e Sousa" userId="b2322a61-6b0f-42d2-a39f-a9a5f08999e4" providerId="ADAL" clId="{25EE2DC7-8C5C-4F63-998F-1F86BD0006F9}" dt="2022-05-23T19:27:46.812" v="417" actId="20577"/>
          <ac:spMkLst>
            <pc:docMk/>
            <pc:sldMk cId="297421368" sldId="16692"/>
            <ac:spMk id="2" creationId="{0A8CAAC8-E798-AEF7-6C56-7173516DBE61}"/>
          </ac:spMkLst>
        </pc:spChg>
        <pc:spChg chg="mod">
          <ac:chgData name="Ricardo Sérgio Souza e Sousa" userId="b2322a61-6b0f-42d2-a39f-a9a5f08999e4" providerId="ADAL" clId="{25EE2DC7-8C5C-4F63-998F-1F86BD0006F9}" dt="2022-05-27T12:01:08.830" v="654" actId="404"/>
          <ac:spMkLst>
            <pc:docMk/>
            <pc:sldMk cId="297421368" sldId="16692"/>
            <ac:spMk id="3" creationId="{BF22334F-71A0-2FCD-7147-BC567D992170}"/>
          </ac:spMkLst>
        </pc:spChg>
        <pc:picChg chg="del">
          <ac:chgData name="Ricardo Sérgio Souza e Sousa" userId="b2322a61-6b0f-42d2-a39f-a9a5f08999e4" providerId="ADAL" clId="{25EE2DC7-8C5C-4F63-998F-1F86BD0006F9}" dt="2022-05-23T19:28:06.184" v="419" actId="478"/>
          <ac:picMkLst>
            <pc:docMk/>
            <pc:sldMk cId="297421368" sldId="16692"/>
            <ac:picMk id="4" creationId="{78B8DBDE-8186-7436-5C92-5D8191BC1E4A}"/>
          </ac:picMkLst>
        </pc:picChg>
      </pc:sldChg>
      <pc:sldChg chg="modSp add mod">
        <pc:chgData name="Ricardo Sérgio Souza e Sousa" userId="b2322a61-6b0f-42d2-a39f-a9a5f08999e4" providerId="ADAL" clId="{25EE2DC7-8C5C-4F63-998F-1F86BD0006F9}" dt="2022-05-27T12:06:36.235" v="772" actId="20577"/>
        <pc:sldMkLst>
          <pc:docMk/>
          <pc:sldMk cId="1778381326" sldId="16692"/>
        </pc:sldMkLst>
        <pc:spChg chg="mod">
          <ac:chgData name="Ricardo Sérgio Souza e Sousa" userId="b2322a61-6b0f-42d2-a39f-a9a5f08999e4" providerId="ADAL" clId="{25EE2DC7-8C5C-4F63-998F-1F86BD0006F9}" dt="2022-05-27T12:06:36.235" v="772" actId="20577"/>
          <ac:spMkLst>
            <pc:docMk/>
            <pc:sldMk cId="1778381326" sldId="16692"/>
            <ac:spMk id="3" creationId="{BF22334F-71A0-2FCD-7147-BC567D992170}"/>
          </ac:spMkLst>
        </pc:spChg>
      </pc:sldChg>
      <pc:sldChg chg="add">
        <pc:chgData name="Ricardo Sérgio Souza e Sousa" userId="b2322a61-6b0f-42d2-a39f-a9a5f08999e4" providerId="ADAL" clId="{25EE2DC7-8C5C-4F63-998F-1F86BD0006F9}" dt="2022-05-27T12:05:35.430" v="765"/>
        <pc:sldMkLst>
          <pc:docMk/>
          <pc:sldMk cId="2927049370" sldId="16693"/>
        </pc:sldMkLst>
      </pc:sldChg>
      <pc:sldChg chg="modSp add del mod">
        <pc:chgData name="Ricardo Sérgio Souza e Sousa" userId="b2322a61-6b0f-42d2-a39f-a9a5f08999e4" providerId="ADAL" clId="{25EE2DC7-8C5C-4F63-998F-1F86BD0006F9}" dt="2022-05-27T12:05:05.500" v="764" actId="2696"/>
        <pc:sldMkLst>
          <pc:docMk/>
          <pc:sldMk cId="2977943792" sldId="16693"/>
        </pc:sldMkLst>
        <pc:spChg chg="mod">
          <ac:chgData name="Ricardo Sérgio Souza e Sousa" userId="b2322a61-6b0f-42d2-a39f-a9a5f08999e4" providerId="ADAL" clId="{25EE2DC7-8C5C-4F63-998F-1F86BD0006F9}" dt="2022-05-23T19:29:42.986" v="443" actId="20577"/>
          <ac:spMkLst>
            <pc:docMk/>
            <pc:sldMk cId="2977943792" sldId="16693"/>
            <ac:spMk id="2" creationId="{0A8CAAC8-E798-AEF7-6C56-7173516DBE61}"/>
          </ac:spMkLst>
        </pc:spChg>
        <pc:spChg chg="mod">
          <ac:chgData name="Ricardo Sérgio Souza e Sousa" userId="b2322a61-6b0f-42d2-a39f-a9a5f08999e4" providerId="ADAL" clId="{25EE2DC7-8C5C-4F63-998F-1F86BD0006F9}" dt="2022-05-23T19:30:19.659" v="458" actId="1036"/>
          <ac:spMkLst>
            <pc:docMk/>
            <pc:sldMk cId="2977943792" sldId="16693"/>
            <ac:spMk id="3" creationId="{BF22334F-71A0-2FCD-7147-BC567D992170}"/>
          </ac:spMkLst>
        </pc:spChg>
      </pc:sldChg>
      <pc:sldChg chg="add">
        <pc:chgData name="Ricardo Sérgio Souza e Sousa" userId="b2322a61-6b0f-42d2-a39f-a9a5f08999e4" providerId="ADAL" clId="{25EE2DC7-8C5C-4F63-998F-1F86BD0006F9}" dt="2022-05-27T12:05:35.430" v="765"/>
        <pc:sldMkLst>
          <pc:docMk/>
          <pc:sldMk cId="1631839900" sldId="16694"/>
        </pc:sldMkLst>
      </pc:sldChg>
      <pc:sldChg chg="modSp add del mod">
        <pc:chgData name="Ricardo Sérgio Souza e Sousa" userId="b2322a61-6b0f-42d2-a39f-a9a5f08999e4" providerId="ADAL" clId="{25EE2DC7-8C5C-4F63-998F-1F86BD0006F9}" dt="2022-05-27T12:05:05.500" v="764" actId="2696"/>
        <pc:sldMkLst>
          <pc:docMk/>
          <pc:sldMk cId="2775916745" sldId="16694"/>
        </pc:sldMkLst>
        <pc:spChg chg="mod">
          <ac:chgData name="Ricardo Sérgio Souza e Sousa" userId="b2322a61-6b0f-42d2-a39f-a9a5f08999e4" providerId="ADAL" clId="{25EE2DC7-8C5C-4F63-998F-1F86BD0006F9}" dt="2022-05-23T19:31:20.886" v="473" actId="113"/>
          <ac:spMkLst>
            <pc:docMk/>
            <pc:sldMk cId="2775916745" sldId="16694"/>
            <ac:spMk id="3" creationId="{BF22334F-71A0-2FCD-7147-BC567D992170}"/>
          </ac:spMkLst>
        </pc:spChg>
      </pc:sldChg>
      <pc:sldChg chg="add">
        <pc:chgData name="Ricardo Sérgio Souza e Sousa" userId="b2322a61-6b0f-42d2-a39f-a9a5f08999e4" providerId="ADAL" clId="{25EE2DC7-8C5C-4F63-998F-1F86BD0006F9}" dt="2022-05-27T12:05:35.430" v="765"/>
        <pc:sldMkLst>
          <pc:docMk/>
          <pc:sldMk cId="2345062407" sldId="16695"/>
        </pc:sldMkLst>
      </pc:sldChg>
      <pc:sldChg chg="modSp add del mod">
        <pc:chgData name="Ricardo Sérgio Souza e Sousa" userId="b2322a61-6b0f-42d2-a39f-a9a5f08999e4" providerId="ADAL" clId="{25EE2DC7-8C5C-4F63-998F-1F86BD0006F9}" dt="2022-05-27T12:05:05.500" v="764" actId="2696"/>
        <pc:sldMkLst>
          <pc:docMk/>
          <pc:sldMk cId="3228736708" sldId="16695"/>
        </pc:sldMkLst>
        <pc:spChg chg="mod">
          <ac:chgData name="Ricardo Sérgio Souza e Sousa" userId="b2322a61-6b0f-42d2-a39f-a9a5f08999e4" providerId="ADAL" clId="{25EE2DC7-8C5C-4F63-998F-1F86BD0006F9}" dt="2022-05-27T11:45:04.850" v="568" actId="20577"/>
          <ac:spMkLst>
            <pc:docMk/>
            <pc:sldMk cId="3228736708" sldId="16695"/>
            <ac:spMk id="2" creationId="{0A8CAAC8-E798-AEF7-6C56-7173516DBE61}"/>
          </ac:spMkLst>
        </pc:spChg>
        <pc:spChg chg="mod">
          <ac:chgData name="Ricardo Sérgio Souza e Sousa" userId="b2322a61-6b0f-42d2-a39f-a9a5f08999e4" providerId="ADAL" clId="{25EE2DC7-8C5C-4F63-998F-1F86BD0006F9}" dt="2022-05-23T19:32:19.086" v="503" actId="6549"/>
          <ac:spMkLst>
            <pc:docMk/>
            <pc:sldMk cId="3228736708" sldId="16695"/>
            <ac:spMk id="3" creationId="{BF22334F-71A0-2FCD-7147-BC567D992170}"/>
          </ac:spMkLst>
        </pc:spChg>
      </pc:sldChg>
      <pc:sldChg chg="modSp add del mod">
        <pc:chgData name="Ricardo Sérgio Souza e Sousa" userId="b2322a61-6b0f-42d2-a39f-a9a5f08999e4" providerId="ADAL" clId="{25EE2DC7-8C5C-4F63-998F-1F86BD0006F9}" dt="2022-05-27T12:05:05.500" v="764" actId="2696"/>
        <pc:sldMkLst>
          <pc:docMk/>
          <pc:sldMk cId="3096444753" sldId="16696"/>
        </pc:sldMkLst>
        <pc:spChg chg="mod">
          <ac:chgData name="Ricardo Sérgio Souza e Sousa" userId="b2322a61-6b0f-42d2-a39f-a9a5f08999e4" providerId="ADAL" clId="{25EE2DC7-8C5C-4F63-998F-1F86BD0006F9}" dt="2022-05-23T19:33:22.241" v="526" actId="1035"/>
          <ac:spMkLst>
            <pc:docMk/>
            <pc:sldMk cId="3096444753" sldId="16696"/>
            <ac:spMk id="2" creationId="{0A8CAAC8-E798-AEF7-6C56-7173516DBE61}"/>
          </ac:spMkLst>
        </pc:spChg>
        <pc:spChg chg="mod">
          <ac:chgData name="Ricardo Sérgio Souza e Sousa" userId="b2322a61-6b0f-42d2-a39f-a9a5f08999e4" providerId="ADAL" clId="{25EE2DC7-8C5C-4F63-998F-1F86BD0006F9}" dt="2022-05-27T11:49:02.569" v="606" actId="20577"/>
          <ac:spMkLst>
            <pc:docMk/>
            <pc:sldMk cId="3096444753" sldId="16696"/>
            <ac:spMk id="3" creationId="{BF22334F-71A0-2FCD-7147-BC567D992170}"/>
          </ac:spMkLst>
        </pc:spChg>
      </pc:sldChg>
      <pc:sldChg chg="add">
        <pc:chgData name="Ricardo Sérgio Souza e Sousa" userId="b2322a61-6b0f-42d2-a39f-a9a5f08999e4" providerId="ADAL" clId="{25EE2DC7-8C5C-4F63-998F-1F86BD0006F9}" dt="2022-05-27T12:05:35.430" v="765"/>
        <pc:sldMkLst>
          <pc:docMk/>
          <pc:sldMk cId="3541621858" sldId="16696"/>
        </pc:sldMkLst>
      </pc:sldChg>
      <pc:sldChg chg="modSp add del mod">
        <pc:chgData name="Ricardo Sérgio Souza e Sousa" userId="b2322a61-6b0f-42d2-a39f-a9a5f08999e4" providerId="ADAL" clId="{25EE2DC7-8C5C-4F63-998F-1F86BD0006F9}" dt="2022-05-27T12:05:05.500" v="764" actId="2696"/>
        <pc:sldMkLst>
          <pc:docMk/>
          <pc:sldMk cId="1199684189" sldId="16697"/>
        </pc:sldMkLst>
        <pc:spChg chg="mod">
          <ac:chgData name="Ricardo Sérgio Souza e Sousa" userId="b2322a61-6b0f-42d2-a39f-a9a5f08999e4" providerId="ADAL" clId="{25EE2DC7-8C5C-4F63-998F-1F86BD0006F9}" dt="2022-05-27T11:49:18.975" v="609" actId="113"/>
          <ac:spMkLst>
            <pc:docMk/>
            <pc:sldMk cId="1199684189" sldId="16697"/>
            <ac:spMk id="3" creationId="{BF22334F-71A0-2FCD-7147-BC567D992170}"/>
          </ac:spMkLst>
        </pc:spChg>
      </pc:sldChg>
      <pc:sldChg chg="add">
        <pc:chgData name="Ricardo Sérgio Souza e Sousa" userId="b2322a61-6b0f-42d2-a39f-a9a5f08999e4" providerId="ADAL" clId="{25EE2DC7-8C5C-4F63-998F-1F86BD0006F9}" dt="2022-05-27T12:05:35.430" v="765"/>
        <pc:sldMkLst>
          <pc:docMk/>
          <pc:sldMk cId="1579516032" sldId="16697"/>
        </pc:sldMkLst>
      </pc:sldChg>
      <pc:sldChg chg="add del">
        <pc:chgData name="Ricardo Sérgio Souza e Sousa" userId="b2322a61-6b0f-42d2-a39f-a9a5f08999e4" providerId="ADAL" clId="{25EE2DC7-8C5C-4F63-998F-1F86BD0006F9}" dt="2022-05-27T11:48:55.774" v="603" actId="47"/>
        <pc:sldMkLst>
          <pc:docMk/>
          <pc:sldMk cId="3983684743" sldId="16697"/>
        </pc:sldMkLst>
      </pc:sldChg>
      <pc:sldChg chg="add del">
        <pc:chgData name="Ricardo Sérgio Souza e Sousa" userId="b2322a61-6b0f-42d2-a39f-a9a5f08999e4" providerId="ADAL" clId="{25EE2DC7-8C5C-4F63-998F-1F86BD0006F9}" dt="2022-05-27T12:08:43.034" v="773" actId="47"/>
        <pc:sldMkLst>
          <pc:docMk/>
          <pc:sldMk cId="2842140472" sldId="16698"/>
        </pc:sldMkLst>
      </pc:sldChg>
      <pc:sldChg chg="add del">
        <pc:chgData name="Ricardo Sérgio Souza e Sousa" userId="b2322a61-6b0f-42d2-a39f-a9a5f08999e4" providerId="ADAL" clId="{25EE2DC7-8C5C-4F63-998F-1F86BD0006F9}" dt="2022-05-27T12:05:05.500" v="764" actId="2696"/>
        <pc:sldMkLst>
          <pc:docMk/>
          <pc:sldMk cId="3860639565" sldId="16698"/>
        </pc:sldMkLst>
      </pc:sldChg>
      <pc:sldChg chg="add">
        <pc:chgData name="Ricardo Sérgio Souza e Sousa" userId="b2322a61-6b0f-42d2-a39f-a9a5f08999e4" providerId="ADAL" clId="{25EE2DC7-8C5C-4F63-998F-1F86BD0006F9}" dt="2022-05-27T12:05:35.430" v="765"/>
        <pc:sldMkLst>
          <pc:docMk/>
          <pc:sldMk cId="435439304" sldId="16699"/>
        </pc:sldMkLst>
      </pc:sldChg>
      <pc:sldChg chg="addSp delSp modSp add del mod">
        <pc:chgData name="Ricardo Sérgio Souza e Sousa" userId="b2322a61-6b0f-42d2-a39f-a9a5f08999e4" providerId="ADAL" clId="{25EE2DC7-8C5C-4F63-998F-1F86BD0006F9}" dt="2022-05-27T12:05:05.500" v="764" actId="2696"/>
        <pc:sldMkLst>
          <pc:docMk/>
          <pc:sldMk cId="2287525548" sldId="16699"/>
        </pc:sldMkLst>
        <pc:spChg chg="mod">
          <ac:chgData name="Ricardo Sérgio Souza e Sousa" userId="b2322a61-6b0f-42d2-a39f-a9a5f08999e4" providerId="ADAL" clId="{25EE2DC7-8C5C-4F63-998F-1F86BD0006F9}" dt="2022-05-27T11:58:23.267" v="621"/>
          <ac:spMkLst>
            <pc:docMk/>
            <pc:sldMk cId="2287525548" sldId="16699"/>
            <ac:spMk id="2" creationId="{0A8CAAC8-E798-AEF7-6C56-7173516DBE61}"/>
          </ac:spMkLst>
        </pc:spChg>
        <pc:spChg chg="del mod">
          <ac:chgData name="Ricardo Sérgio Souza e Sousa" userId="b2322a61-6b0f-42d2-a39f-a9a5f08999e4" providerId="ADAL" clId="{25EE2DC7-8C5C-4F63-998F-1F86BD0006F9}" dt="2022-05-27T11:58:58.435" v="628" actId="478"/>
          <ac:spMkLst>
            <pc:docMk/>
            <pc:sldMk cId="2287525548" sldId="16699"/>
            <ac:spMk id="3" creationId="{BF22334F-71A0-2FCD-7147-BC567D992170}"/>
          </ac:spMkLst>
        </pc:spChg>
        <pc:spChg chg="add mod">
          <ac:chgData name="Ricardo Sérgio Souza e Sousa" userId="b2322a61-6b0f-42d2-a39f-a9a5f08999e4" providerId="ADAL" clId="{25EE2DC7-8C5C-4F63-998F-1F86BD0006F9}" dt="2022-05-27T12:02:48.858" v="661" actId="1076"/>
          <ac:spMkLst>
            <pc:docMk/>
            <pc:sldMk cId="2287525548" sldId="16699"/>
            <ac:spMk id="4" creationId="{48EF63D1-9764-BAD2-C38D-8A17BA6BFB73}"/>
          </ac:spMkLst>
        </pc:spChg>
      </pc:sldChg>
      <pc:sldChg chg="modSp add del mod">
        <pc:chgData name="Ricardo Sérgio Souza e Sousa" userId="b2322a61-6b0f-42d2-a39f-a9a5f08999e4" providerId="ADAL" clId="{25EE2DC7-8C5C-4F63-998F-1F86BD0006F9}" dt="2022-05-27T12:05:05.500" v="764" actId="2696"/>
        <pc:sldMkLst>
          <pc:docMk/>
          <pc:sldMk cId="1505191446" sldId="16700"/>
        </pc:sldMkLst>
        <pc:spChg chg="mod">
          <ac:chgData name="Ricardo Sérgio Souza e Sousa" userId="b2322a61-6b0f-42d2-a39f-a9a5f08999e4" providerId="ADAL" clId="{25EE2DC7-8C5C-4F63-998F-1F86BD0006F9}" dt="2022-05-27T12:04:37.545" v="752" actId="20577"/>
          <ac:spMkLst>
            <pc:docMk/>
            <pc:sldMk cId="1505191446" sldId="16700"/>
            <ac:spMk id="2" creationId="{0A8CAAC8-E798-AEF7-6C56-7173516DBE61}"/>
          </ac:spMkLst>
        </pc:spChg>
        <pc:spChg chg="mod">
          <ac:chgData name="Ricardo Sérgio Souza e Sousa" userId="b2322a61-6b0f-42d2-a39f-a9a5f08999e4" providerId="ADAL" clId="{25EE2DC7-8C5C-4F63-998F-1F86BD0006F9}" dt="2022-05-27T12:04:48.059" v="763" actId="1036"/>
          <ac:spMkLst>
            <pc:docMk/>
            <pc:sldMk cId="1505191446" sldId="16700"/>
            <ac:spMk id="4" creationId="{48EF63D1-9764-BAD2-C38D-8A17BA6BFB73}"/>
          </ac:spMkLst>
        </pc:spChg>
      </pc:sldChg>
      <pc:sldChg chg="modSp add mod">
        <pc:chgData name="Ricardo Sérgio Souza e Sousa" userId="b2322a61-6b0f-42d2-a39f-a9a5f08999e4" providerId="ADAL" clId="{25EE2DC7-8C5C-4F63-998F-1F86BD0006F9}" dt="2022-05-27T12:11:14.594" v="779" actId="403"/>
        <pc:sldMkLst>
          <pc:docMk/>
          <pc:sldMk cId="4024472905" sldId="16700"/>
        </pc:sldMkLst>
        <pc:spChg chg="mod">
          <ac:chgData name="Ricardo Sérgio Souza e Sousa" userId="b2322a61-6b0f-42d2-a39f-a9a5f08999e4" providerId="ADAL" clId="{25EE2DC7-8C5C-4F63-998F-1F86BD0006F9}" dt="2022-05-27T12:11:14.594" v="779" actId="403"/>
          <ac:spMkLst>
            <pc:docMk/>
            <pc:sldMk cId="4024472905" sldId="16700"/>
            <ac:spMk id="4" creationId="{48EF63D1-9764-BAD2-C38D-8A17BA6BFB73}"/>
          </ac:spMkLst>
        </pc:spChg>
      </pc:sldChg>
    </pc:docChg>
  </pc:docChgLst>
  <pc:docChgLst>
    <pc:chgData name="Ricardo Sérgio Souza e Sousa" userId="b2322a61-6b0f-42d2-a39f-a9a5f08999e4" providerId="ADAL" clId="{E38D8E6F-8559-4C52-BFDF-85A37E96F446}"/>
    <pc:docChg chg="undo custSel addSld delSld modSld sldOrd">
      <pc:chgData name="Ricardo Sérgio Souza e Sousa" userId="b2322a61-6b0f-42d2-a39f-a9a5f08999e4" providerId="ADAL" clId="{E38D8E6F-8559-4C52-BFDF-85A37E96F446}" dt="2022-07-14T14:46:24.166" v="2561" actId="20577"/>
      <pc:docMkLst>
        <pc:docMk/>
      </pc:docMkLst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58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59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60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61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62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63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64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65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66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67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68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78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82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83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84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85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86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87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88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89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91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94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95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3544607245" sldId="296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97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298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302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305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306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309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310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312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314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318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320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387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389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391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392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393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394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395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397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398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399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400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401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402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403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404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405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406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407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408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409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411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412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413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414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415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416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417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418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419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420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421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427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3304532676" sldId="472"/>
        </pc:sldMkLst>
      </pc:sldChg>
      <pc:sldChg chg="delSp modSp add del mod">
        <pc:chgData name="Ricardo Sérgio Souza e Sousa" userId="b2322a61-6b0f-42d2-a39f-a9a5f08999e4" providerId="ADAL" clId="{E38D8E6F-8559-4C52-BFDF-85A37E96F446}" dt="2022-07-14T14:38:49.163" v="2485" actId="20577"/>
        <pc:sldMkLst>
          <pc:docMk/>
          <pc:sldMk cId="2116528502" sldId="475"/>
        </pc:sldMkLst>
        <pc:spChg chg="del">
          <ac:chgData name="Ricardo Sérgio Souza e Sousa" userId="b2322a61-6b0f-42d2-a39f-a9a5f08999e4" providerId="ADAL" clId="{E38D8E6F-8559-4C52-BFDF-85A37E96F446}" dt="2022-07-13T19:24:22.136" v="1021" actId="478"/>
          <ac:spMkLst>
            <pc:docMk/>
            <pc:sldMk cId="2116528502" sldId="475"/>
            <ac:spMk id="7" creationId="{CC55BEE0-154A-44D2-8C51-6EFB4BC51A8E}"/>
          </ac:spMkLst>
        </pc:spChg>
        <pc:spChg chg="mod">
          <ac:chgData name="Ricardo Sérgio Souza e Sousa" userId="b2322a61-6b0f-42d2-a39f-a9a5f08999e4" providerId="ADAL" clId="{E38D8E6F-8559-4C52-BFDF-85A37E96F446}" dt="2022-07-14T14:36:41.751" v="2227" actId="20577"/>
          <ac:spMkLst>
            <pc:docMk/>
            <pc:sldMk cId="2116528502" sldId="475"/>
            <ac:spMk id="8" creationId="{C1B9D129-07C7-4EB0-BC65-76BDBD9F544B}"/>
          </ac:spMkLst>
        </pc:spChg>
        <pc:spChg chg="mod">
          <ac:chgData name="Ricardo Sérgio Souza e Sousa" userId="b2322a61-6b0f-42d2-a39f-a9a5f08999e4" providerId="ADAL" clId="{E38D8E6F-8559-4C52-BFDF-85A37E96F446}" dt="2022-07-14T14:36:30.640" v="2194" actId="20577"/>
          <ac:spMkLst>
            <pc:docMk/>
            <pc:sldMk cId="2116528502" sldId="475"/>
            <ac:spMk id="10" creationId="{D2F9B194-9132-EC3D-D1B9-95C7A8A1782E}"/>
          </ac:spMkLst>
        </pc:spChg>
        <pc:spChg chg="mod">
          <ac:chgData name="Ricardo Sérgio Souza e Sousa" userId="b2322a61-6b0f-42d2-a39f-a9a5f08999e4" providerId="ADAL" clId="{E38D8E6F-8559-4C52-BFDF-85A37E96F446}" dt="2022-07-14T14:38:49.163" v="2485" actId="20577"/>
          <ac:spMkLst>
            <pc:docMk/>
            <pc:sldMk cId="2116528502" sldId="475"/>
            <ac:spMk id="11" creationId="{63F56501-53D0-3CE2-1C11-8DF9718542F0}"/>
          </ac:spMkLst>
        </pc:spChg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2480849911" sldId="515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1503316673" sldId="516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2026163206" sldId="517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4132143666" sldId="518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2991636746" sldId="519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2359481339" sldId="520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1554541207" sldId="521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522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0" sldId="523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4111093096" sldId="688"/>
        </pc:sldMkLst>
      </pc:sldChg>
      <pc:sldChg chg="modSp mod">
        <pc:chgData name="Ricardo Sérgio Souza e Sousa" userId="b2322a61-6b0f-42d2-a39f-a9a5f08999e4" providerId="ADAL" clId="{E38D8E6F-8559-4C52-BFDF-85A37E96F446}" dt="2022-07-13T19:11:53.679" v="23" actId="20577"/>
        <pc:sldMkLst>
          <pc:docMk/>
          <pc:sldMk cId="3753665013" sldId="760"/>
        </pc:sldMkLst>
        <pc:spChg chg="mod">
          <ac:chgData name="Ricardo Sérgio Souza e Sousa" userId="b2322a61-6b0f-42d2-a39f-a9a5f08999e4" providerId="ADAL" clId="{E38D8E6F-8559-4C52-BFDF-85A37E96F446}" dt="2022-07-13T19:11:53.679" v="23" actId="20577"/>
          <ac:spMkLst>
            <pc:docMk/>
            <pc:sldMk cId="3753665013" sldId="760"/>
            <ac:spMk id="2" creationId="{00000000-0000-0000-0000-000000000000}"/>
          </ac:spMkLst>
        </pc:spChg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4024457464" sldId="761"/>
        </pc:sldMkLst>
      </pc:sldChg>
      <pc:sldChg chg="del">
        <pc:chgData name="Ricardo Sérgio Souza e Sousa" userId="b2322a61-6b0f-42d2-a39f-a9a5f08999e4" providerId="ADAL" clId="{E38D8E6F-8559-4C52-BFDF-85A37E96F446}" dt="2022-07-13T19:19:51.042" v="780" actId="47"/>
        <pc:sldMkLst>
          <pc:docMk/>
          <pc:sldMk cId="781821362" sldId="762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765660171" sldId="763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191353228" sldId="765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2110046002" sldId="766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3309384338" sldId="767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3817352915" sldId="768"/>
        </pc:sldMkLst>
      </pc:sldChg>
      <pc:sldChg chg="del ord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3959300782" sldId="769"/>
        </pc:sldMkLst>
      </pc:sldChg>
      <pc:sldChg chg="del ord">
        <pc:chgData name="Ricardo Sérgio Souza e Sousa" userId="b2322a61-6b0f-42d2-a39f-a9a5f08999e4" providerId="ADAL" clId="{E38D8E6F-8559-4C52-BFDF-85A37E96F446}" dt="2022-07-13T19:20:09.005" v="783" actId="47"/>
        <pc:sldMkLst>
          <pc:docMk/>
          <pc:sldMk cId="128681420" sldId="770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3701024407" sldId="771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2458955814" sldId="772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949642342" sldId="773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3317530090" sldId="775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2005786053" sldId="776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3384011889" sldId="777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3327409246" sldId="778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3638777543" sldId="779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4281244039" sldId="780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2580215943" sldId="781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2975200491" sldId="782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2454085429" sldId="783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2653865649" sldId="784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878735503" sldId="785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3843587019" sldId="786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3989387911" sldId="787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1579277537" sldId="788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910924327" sldId="789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3115407327" sldId="790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1480203670" sldId="791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707943874" sldId="792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4084062883" sldId="819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2560038232" sldId="1821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3586176904" sldId="1859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2460929318" sldId="2037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2784584908" sldId="3399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1792895049" sldId="16575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566147137" sldId="16648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2080258575" sldId="16649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2509880796" sldId="16651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4222207526" sldId="16652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525444204" sldId="16653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3497854217" sldId="16655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2408778757" sldId="16656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66552722" sldId="16657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855615106" sldId="16661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3632761607" sldId="16675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666939263" sldId="16676"/>
        </pc:sldMkLst>
      </pc:sldChg>
      <pc:sldChg chg="del">
        <pc:chgData name="Ricardo Sérgio Souza e Sousa" userId="b2322a61-6b0f-42d2-a39f-a9a5f08999e4" providerId="ADAL" clId="{E38D8E6F-8559-4C52-BFDF-85A37E96F446}" dt="2022-07-13T19:20:11.033" v="784" actId="47"/>
        <pc:sldMkLst>
          <pc:docMk/>
          <pc:sldMk cId="46510892" sldId="16677"/>
        </pc:sldMkLst>
      </pc:sldChg>
      <pc:sldChg chg="addSp delSp modSp mod">
        <pc:chgData name="Ricardo Sérgio Souza e Sousa" userId="b2322a61-6b0f-42d2-a39f-a9a5f08999e4" providerId="ADAL" clId="{E38D8E6F-8559-4C52-BFDF-85A37E96F446}" dt="2022-07-14T14:46:24.166" v="2561" actId="20577"/>
        <pc:sldMkLst>
          <pc:docMk/>
          <pc:sldMk cId="2113124425" sldId="16678"/>
        </pc:sldMkLst>
        <pc:spChg chg="del">
          <ac:chgData name="Ricardo Sérgio Souza e Sousa" userId="b2322a61-6b0f-42d2-a39f-a9a5f08999e4" providerId="ADAL" clId="{E38D8E6F-8559-4C52-BFDF-85A37E96F446}" dt="2022-07-13T19:24:15.563" v="1020" actId="478"/>
          <ac:spMkLst>
            <pc:docMk/>
            <pc:sldMk cId="2113124425" sldId="16678"/>
            <ac:spMk id="7" creationId="{CC55BEE0-154A-44D2-8C51-6EFB4BC51A8E}"/>
          </ac:spMkLst>
        </pc:spChg>
        <pc:spChg chg="del mod">
          <ac:chgData name="Ricardo Sérgio Souza e Sousa" userId="b2322a61-6b0f-42d2-a39f-a9a5f08999e4" providerId="ADAL" clId="{E38D8E6F-8559-4C52-BFDF-85A37E96F446}" dt="2022-07-13T19:12:19.718" v="53" actId="478"/>
          <ac:spMkLst>
            <pc:docMk/>
            <pc:sldMk cId="2113124425" sldId="16678"/>
            <ac:spMk id="8" creationId="{C1B9D129-07C7-4EB0-BC65-76BDBD9F544B}"/>
          </ac:spMkLst>
        </pc:spChg>
        <pc:spChg chg="mod">
          <ac:chgData name="Ricardo Sérgio Souza e Sousa" userId="b2322a61-6b0f-42d2-a39f-a9a5f08999e4" providerId="ADAL" clId="{E38D8E6F-8559-4C52-BFDF-85A37E96F446}" dt="2022-07-14T14:32:00.327" v="1505" actId="20577"/>
          <ac:spMkLst>
            <pc:docMk/>
            <pc:sldMk cId="2113124425" sldId="16678"/>
            <ac:spMk id="9" creationId="{25C1234C-9AD2-45FA-D4AC-C49B087EA928}"/>
          </ac:spMkLst>
        </pc:spChg>
        <pc:spChg chg="add mod">
          <ac:chgData name="Ricardo Sérgio Souza e Sousa" userId="b2322a61-6b0f-42d2-a39f-a9a5f08999e4" providerId="ADAL" clId="{E38D8E6F-8559-4C52-BFDF-85A37E96F446}" dt="2022-07-14T14:46:24.166" v="2561" actId="20577"/>
          <ac:spMkLst>
            <pc:docMk/>
            <pc:sldMk cId="2113124425" sldId="16678"/>
            <ac:spMk id="10" creationId="{7FB2CB44-2EEA-5160-659C-210F05942322}"/>
          </ac:spMkLst>
        </pc:spChg>
        <pc:graphicFrameChg chg="add del mod">
          <ac:chgData name="Ricardo Sérgio Souza e Sousa" userId="b2322a61-6b0f-42d2-a39f-a9a5f08999e4" providerId="ADAL" clId="{E38D8E6F-8559-4C52-BFDF-85A37E96F446}" dt="2022-07-13T19:13:27.787" v="60"/>
          <ac:graphicFrameMkLst>
            <pc:docMk/>
            <pc:sldMk cId="2113124425" sldId="16678"/>
            <ac:graphicFrameMk id="2" creationId="{DD30D8FB-D618-D205-1FE3-E0A5E2AFD4B8}"/>
          </ac:graphicFrameMkLst>
        </pc:graphicFrameChg>
      </pc:sldChg>
      <pc:sldChg chg="new add del">
        <pc:chgData name="Ricardo Sérgio Souza e Sousa" userId="b2322a61-6b0f-42d2-a39f-a9a5f08999e4" providerId="ADAL" clId="{E38D8E6F-8559-4C52-BFDF-85A37E96F446}" dt="2022-07-13T19:37:51.112" v="1461" actId="47"/>
        <pc:sldMkLst>
          <pc:docMk/>
          <pc:sldMk cId="3276410458" sldId="16679"/>
        </pc:sldMkLst>
      </pc:sldChg>
      <pc:sldChg chg="addSp delSp modSp add mod ord">
        <pc:chgData name="Ricardo Sérgio Souza e Sousa" userId="b2322a61-6b0f-42d2-a39f-a9a5f08999e4" providerId="ADAL" clId="{E38D8E6F-8559-4C52-BFDF-85A37E96F446}" dt="2022-07-13T19:38:58.459" v="1493" actId="1076"/>
        <pc:sldMkLst>
          <pc:docMk/>
          <pc:sldMk cId="3624026191" sldId="16679"/>
        </pc:sldMkLst>
        <pc:spChg chg="mod">
          <ac:chgData name="Ricardo Sérgio Souza e Sousa" userId="b2322a61-6b0f-42d2-a39f-a9a5f08999e4" providerId="ADAL" clId="{E38D8E6F-8559-4C52-BFDF-85A37E96F446}" dt="2022-07-13T19:38:02.520" v="1490" actId="20577"/>
          <ac:spMkLst>
            <pc:docMk/>
            <pc:sldMk cId="3624026191" sldId="16679"/>
            <ac:spMk id="9" creationId="{25C1234C-9AD2-45FA-D4AC-C49B087EA928}"/>
          </ac:spMkLst>
        </pc:spChg>
        <pc:spChg chg="del">
          <ac:chgData name="Ricardo Sérgio Souza e Sousa" userId="b2322a61-6b0f-42d2-a39f-a9a5f08999e4" providerId="ADAL" clId="{E38D8E6F-8559-4C52-BFDF-85A37E96F446}" dt="2022-07-13T19:38:05.053" v="1491" actId="478"/>
          <ac:spMkLst>
            <pc:docMk/>
            <pc:sldMk cId="3624026191" sldId="16679"/>
            <ac:spMk id="10" creationId="{7FB2CB44-2EEA-5160-659C-210F05942322}"/>
          </ac:spMkLst>
        </pc:spChg>
        <pc:graphicFrameChg chg="add mod">
          <ac:chgData name="Ricardo Sérgio Souza e Sousa" userId="b2322a61-6b0f-42d2-a39f-a9a5f08999e4" providerId="ADAL" clId="{E38D8E6F-8559-4C52-BFDF-85A37E96F446}" dt="2022-07-13T19:38:58.459" v="1493" actId="1076"/>
          <ac:graphicFrameMkLst>
            <pc:docMk/>
            <pc:sldMk cId="3624026191" sldId="16679"/>
            <ac:graphicFrameMk id="2" creationId="{938D910A-2EAC-EA1F-A0B0-6FABEA46FCC8}"/>
          </ac:graphicFrameMkLst>
        </pc:graphicFrameChg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2196981727" sldId="16680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491856847" sldId="16681"/>
        </pc:sldMkLst>
      </pc:sldChg>
      <pc:sldChg chg="addSp delSp del mod">
        <pc:chgData name="Ricardo Sérgio Souza e Sousa" userId="b2322a61-6b0f-42d2-a39f-a9a5f08999e4" providerId="ADAL" clId="{E38D8E6F-8559-4C52-BFDF-85A37E96F446}" dt="2022-07-13T19:13:34.988" v="63" actId="47"/>
        <pc:sldMkLst>
          <pc:docMk/>
          <pc:sldMk cId="3462309141" sldId="16682"/>
        </pc:sldMkLst>
        <pc:spChg chg="add del">
          <ac:chgData name="Ricardo Sérgio Souza e Sousa" userId="b2322a61-6b0f-42d2-a39f-a9a5f08999e4" providerId="ADAL" clId="{E38D8E6F-8559-4C52-BFDF-85A37E96F446}" dt="2022-07-13T19:13:28.250" v="61" actId="478"/>
          <ac:spMkLst>
            <pc:docMk/>
            <pc:sldMk cId="3462309141" sldId="16682"/>
            <ac:spMk id="8" creationId="{C1B9D129-07C7-4EB0-BC65-76BDBD9F544B}"/>
          </ac:spMkLst>
        </pc:spChg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3497553340" sldId="16683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4226471936" sldId="16684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4051024138" sldId="16685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4124988730" sldId="16686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1754362738" sldId="16687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4123349569" sldId="16688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1723996531" sldId="16689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3976730775" sldId="16690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2714828299" sldId="16691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1778381326" sldId="16692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2927049370" sldId="16693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1631839900" sldId="16694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2345062407" sldId="16695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3541621858" sldId="16696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1579516032" sldId="16697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435439304" sldId="16699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4024472905" sldId="16700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3240296426" sldId="16701"/>
        </pc:sldMkLst>
      </pc:sldChg>
      <pc:sldChg chg="del">
        <pc:chgData name="Ricardo Sérgio Souza e Sousa" userId="b2322a61-6b0f-42d2-a39f-a9a5f08999e4" providerId="ADAL" clId="{E38D8E6F-8559-4C52-BFDF-85A37E96F446}" dt="2022-07-13T19:20:18.305" v="786" actId="47"/>
        <pc:sldMkLst>
          <pc:docMk/>
          <pc:sldMk cId="967701466" sldId="16702"/>
        </pc:sldMkLst>
      </pc:sldChg>
      <pc:sldMasterChg chg="delSldLayout">
        <pc:chgData name="Ricardo Sérgio Souza e Sousa" userId="b2322a61-6b0f-42d2-a39f-a9a5f08999e4" providerId="ADAL" clId="{E38D8E6F-8559-4C52-BFDF-85A37E96F446}" dt="2022-07-13T19:20:18.305" v="786" actId="47"/>
        <pc:sldMasterMkLst>
          <pc:docMk/>
          <pc:sldMasterMk cId="2158362490" sldId="2147483660"/>
        </pc:sldMasterMkLst>
        <pc:sldLayoutChg chg="del">
          <pc:chgData name="Ricardo Sérgio Souza e Sousa" userId="b2322a61-6b0f-42d2-a39f-a9a5f08999e4" providerId="ADAL" clId="{E38D8E6F-8559-4C52-BFDF-85A37E96F446}" dt="2022-07-13T19:20:18.305" v="786" actId="47"/>
          <pc:sldLayoutMkLst>
            <pc:docMk/>
            <pc:sldMasterMk cId="2158362490" sldId="2147483660"/>
            <pc:sldLayoutMk cId="3074713635" sldId="2147483674"/>
          </pc:sldLayoutMkLst>
        </pc:sldLayoutChg>
        <pc:sldLayoutChg chg="del">
          <pc:chgData name="Ricardo Sérgio Souza e Sousa" userId="b2322a61-6b0f-42d2-a39f-a9a5f08999e4" providerId="ADAL" clId="{E38D8E6F-8559-4C52-BFDF-85A37E96F446}" dt="2022-07-13T19:20:18.305" v="786" actId="47"/>
          <pc:sldLayoutMkLst>
            <pc:docMk/>
            <pc:sldMasterMk cId="2158362490" sldId="2147483660"/>
            <pc:sldLayoutMk cId="3700259710" sldId="2147483675"/>
          </pc:sldLayoutMkLst>
        </pc:sldLayoutChg>
        <pc:sldLayoutChg chg="del">
          <pc:chgData name="Ricardo Sérgio Souza e Sousa" userId="b2322a61-6b0f-42d2-a39f-a9a5f08999e4" providerId="ADAL" clId="{E38D8E6F-8559-4C52-BFDF-85A37E96F446}" dt="2022-07-13T19:20:18.305" v="786" actId="47"/>
          <pc:sldLayoutMkLst>
            <pc:docMk/>
            <pc:sldMasterMk cId="2158362490" sldId="2147483660"/>
            <pc:sldLayoutMk cId="4117574950" sldId="2147483676"/>
          </pc:sldLayoutMkLst>
        </pc:sldLayoutChg>
        <pc:sldLayoutChg chg="del">
          <pc:chgData name="Ricardo Sérgio Souza e Sousa" userId="b2322a61-6b0f-42d2-a39f-a9a5f08999e4" providerId="ADAL" clId="{E38D8E6F-8559-4C52-BFDF-85A37E96F446}" dt="2022-07-13T19:20:18.305" v="786" actId="47"/>
          <pc:sldLayoutMkLst>
            <pc:docMk/>
            <pc:sldMasterMk cId="2158362490" sldId="2147483660"/>
            <pc:sldLayoutMk cId="4200275978" sldId="2147483680"/>
          </pc:sldLayoutMkLst>
        </pc:sldLayoutChg>
        <pc:sldLayoutChg chg="del">
          <pc:chgData name="Ricardo Sérgio Souza e Sousa" userId="b2322a61-6b0f-42d2-a39f-a9a5f08999e4" providerId="ADAL" clId="{E38D8E6F-8559-4C52-BFDF-85A37E96F446}" dt="2022-07-13T19:20:18.305" v="786" actId="47"/>
          <pc:sldLayoutMkLst>
            <pc:docMk/>
            <pc:sldMasterMk cId="2158362490" sldId="2147483660"/>
            <pc:sldLayoutMk cId="3872243190" sldId="2147483681"/>
          </pc:sldLayoutMkLst>
        </pc:sldLayoutChg>
      </pc:sldMasterChg>
    </pc:docChg>
  </pc:docChgLst>
  <pc:docChgLst>
    <pc:chgData name="Ricardo Sérgio Souza e Sousa" userId="b2322a61-6b0f-42d2-a39f-a9a5f08999e4" providerId="ADAL" clId="{C9348547-B843-49F4-9FA0-D5A2F3060976}"/>
    <pc:docChg chg="undo redo custSel addSld delSld modSld sldOrd modMainMaster replTag">
      <pc:chgData name="Ricardo Sérgio Souza e Sousa" userId="b2322a61-6b0f-42d2-a39f-a9a5f08999e4" providerId="ADAL" clId="{C9348547-B843-49F4-9FA0-D5A2F3060976}" dt="2021-09-13T14:38:55.817" v="5147" actId="1076"/>
      <pc:docMkLst>
        <pc:docMk/>
      </pc:docMkLst>
      <pc:sldChg chg="modSp add del mod setBg modClrScheme chgLayout">
        <pc:chgData name="Ricardo Sérgio Souza e Sousa" userId="b2322a61-6b0f-42d2-a39f-a9a5f08999e4" providerId="ADAL" clId="{C9348547-B843-49F4-9FA0-D5A2F3060976}" dt="2021-09-13T14:19:39.717" v="4640" actId="47"/>
        <pc:sldMkLst>
          <pc:docMk/>
          <pc:sldMk cId="3983322936" sldId="257"/>
        </pc:sldMkLst>
        <pc:spChg chg="mod ord">
          <ac:chgData name="Ricardo Sérgio Souza e Sousa" userId="b2322a61-6b0f-42d2-a39f-a9a5f08999e4" providerId="ADAL" clId="{C9348547-B843-49F4-9FA0-D5A2F3060976}" dt="2021-09-13T13:16:39.387" v="2084"/>
          <ac:spMkLst>
            <pc:docMk/>
            <pc:sldMk cId="3983322936" sldId="257"/>
            <ac:spMk id="4" creationId="{00000000-0000-0000-0000-000000000000}"/>
          </ac:spMkLst>
        </pc:spChg>
      </pc:sldChg>
      <pc:sldChg chg="modSp">
        <pc:chgData name="Ricardo Sérgio Souza e Sousa" userId="b2322a61-6b0f-42d2-a39f-a9a5f08999e4" providerId="ADAL" clId="{C9348547-B843-49F4-9FA0-D5A2F3060976}" dt="2021-09-13T13:06:00.002" v="1802" actId="120"/>
        <pc:sldMkLst>
          <pc:docMk/>
          <pc:sldMk cId="0" sldId="261"/>
        </pc:sldMkLst>
        <pc:spChg chg="mod">
          <ac:chgData name="Ricardo Sérgio Souza e Sousa" userId="b2322a61-6b0f-42d2-a39f-a9a5f08999e4" providerId="ADAL" clId="{C9348547-B843-49F4-9FA0-D5A2F3060976}" dt="2021-09-13T13:06:00.002" v="1802" actId="120"/>
          <ac:spMkLst>
            <pc:docMk/>
            <pc:sldMk cId="0" sldId="261"/>
            <ac:spMk id="17412" creationId="{DA36A162-3084-4774-9195-25CC22B0AD4E}"/>
          </ac:spMkLst>
        </pc:spChg>
      </pc:sldChg>
      <pc:sldChg chg="modSp">
        <pc:chgData name="Ricardo Sérgio Souza e Sousa" userId="b2322a61-6b0f-42d2-a39f-a9a5f08999e4" providerId="ADAL" clId="{C9348547-B843-49F4-9FA0-D5A2F3060976}" dt="2021-09-13T13:00:27.312" v="1655" actId="1076"/>
        <pc:sldMkLst>
          <pc:docMk/>
          <pc:sldMk cId="0" sldId="264"/>
        </pc:sldMkLst>
        <pc:spChg chg="mod">
          <ac:chgData name="Ricardo Sérgio Souza e Sousa" userId="b2322a61-6b0f-42d2-a39f-a9a5f08999e4" providerId="ADAL" clId="{C9348547-B843-49F4-9FA0-D5A2F3060976}" dt="2021-09-13T13:00:19.063" v="1654" actId="1035"/>
          <ac:spMkLst>
            <pc:docMk/>
            <pc:sldMk cId="0" sldId="264"/>
            <ac:spMk id="24580" creationId="{2AD944AA-D39B-4516-BFD5-85E9857507A7}"/>
          </ac:spMkLst>
        </pc:spChg>
        <pc:picChg chg="mod">
          <ac:chgData name="Ricardo Sérgio Souza e Sousa" userId="b2322a61-6b0f-42d2-a39f-a9a5f08999e4" providerId="ADAL" clId="{C9348547-B843-49F4-9FA0-D5A2F3060976}" dt="2021-09-13T13:00:27.312" v="1655" actId="1076"/>
          <ac:picMkLst>
            <pc:docMk/>
            <pc:sldMk cId="0" sldId="264"/>
            <ac:picMk id="24584" creationId="{80D5F65B-84C4-40D0-8897-549FF2623F62}"/>
          </ac:picMkLst>
        </pc:picChg>
      </pc:sldChg>
      <pc:sldChg chg="modSp">
        <pc:chgData name="Ricardo Sérgio Souza e Sousa" userId="b2322a61-6b0f-42d2-a39f-a9a5f08999e4" providerId="ADAL" clId="{C9348547-B843-49F4-9FA0-D5A2F3060976}" dt="2021-09-13T13:05:51.877" v="1799" actId="120"/>
        <pc:sldMkLst>
          <pc:docMk/>
          <pc:sldMk cId="0" sldId="272"/>
        </pc:sldMkLst>
        <pc:spChg chg="mod">
          <ac:chgData name="Ricardo Sérgio Souza e Sousa" userId="b2322a61-6b0f-42d2-a39f-a9a5f08999e4" providerId="ADAL" clId="{C9348547-B843-49F4-9FA0-D5A2F3060976}" dt="2021-09-13T13:05:51.877" v="1799" actId="120"/>
          <ac:spMkLst>
            <pc:docMk/>
            <pc:sldMk cId="0" sldId="272"/>
            <ac:spMk id="40964" creationId="{9D489806-4D04-47BA-9AAE-2570BD3DFFF5}"/>
          </ac:spMkLst>
        </pc:spChg>
      </pc:sldChg>
      <pc:sldChg chg="delSp add del">
        <pc:chgData name="Ricardo Sérgio Souza e Sousa" userId="b2322a61-6b0f-42d2-a39f-a9a5f08999e4" providerId="ADAL" clId="{C9348547-B843-49F4-9FA0-D5A2F3060976}" dt="2021-09-13T11:23:27.363" v="72" actId="47"/>
        <pc:sldMkLst>
          <pc:docMk/>
          <pc:sldMk cId="682814548" sldId="273"/>
        </pc:sldMkLst>
        <pc:picChg chg="del">
          <ac:chgData name="Ricardo Sérgio Souza e Sousa" userId="b2322a61-6b0f-42d2-a39f-a9a5f08999e4" providerId="ADAL" clId="{C9348547-B843-49F4-9FA0-D5A2F3060976}" dt="2021-09-13T11:22:37.413" v="2" actId="21"/>
          <ac:picMkLst>
            <pc:docMk/>
            <pc:sldMk cId="682814548" sldId="273"/>
            <ac:picMk id="1026" creationId="{00000000-0000-0000-0000-000000000000}"/>
          </ac:picMkLst>
        </pc:picChg>
      </pc:sldChg>
      <pc:sldChg chg="add del mod modClrScheme chgLayout">
        <pc:chgData name="Ricardo Sérgio Souza e Sousa" userId="b2322a61-6b0f-42d2-a39f-a9a5f08999e4" providerId="ADAL" clId="{C9348547-B843-49F4-9FA0-D5A2F3060976}" dt="2021-09-13T14:18:54.531" v="4636" actId="47"/>
        <pc:sldMkLst>
          <pc:docMk/>
          <pc:sldMk cId="2872358419" sldId="274"/>
        </pc:sldMkLst>
      </pc:sldChg>
      <pc:sldChg chg="modSp">
        <pc:chgData name="Ricardo Sérgio Souza e Sousa" userId="b2322a61-6b0f-42d2-a39f-a9a5f08999e4" providerId="ADAL" clId="{C9348547-B843-49F4-9FA0-D5A2F3060976}" dt="2021-09-13T13:06:14.646" v="1805" actId="120"/>
        <pc:sldMkLst>
          <pc:docMk/>
          <pc:sldMk cId="0" sldId="281"/>
        </pc:sldMkLst>
        <pc:spChg chg="mod">
          <ac:chgData name="Ricardo Sérgio Souza e Sousa" userId="b2322a61-6b0f-42d2-a39f-a9a5f08999e4" providerId="ADAL" clId="{C9348547-B843-49F4-9FA0-D5A2F3060976}" dt="2021-09-13T13:06:14.646" v="1805" actId="120"/>
          <ac:spMkLst>
            <pc:docMk/>
            <pc:sldMk cId="0" sldId="281"/>
            <ac:spMk id="61444" creationId="{05A349B3-8A08-4677-8671-0D63C2DAE552}"/>
          </ac:spMkLst>
        </pc:spChg>
      </pc:sldChg>
      <pc:sldChg chg="modSp add del mod modClrScheme chgLayout">
        <pc:chgData name="Ricardo Sérgio Souza e Sousa" userId="b2322a61-6b0f-42d2-a39f-a9a5f08999e4" providerId="ADAL" clId="{C9348547-B843-49F4-9FA0-D5A2F3060976}" dt="2021-09-13T14:19:36.238" v="4639" actId="47"/>
        <pc:sldMkLst>
          <pc:docMk/>
          <pc:sldMk cId="4066535562" sldId="283"/>
        </pc:sldMkLst>
        <pc:spChg chg="mod ord">
          <ac:chgData name="Ricardo Sérgio Souza e Sousa" userId="b2322a61-6b0f-42d2-a39f-a9a5f08999e4" providerId="ADAL" clId="{C9348547-B843-49F4-9FA0-D5A2F3060976}" dt="2021-09-13T13:16:39.387" v="2084"/>
          <ac:spMkLst>
            <pc:docMk/>
            <pc:sldMk cId="4066535562" sldId="283"/>
            <ac:spMk id="10" creationId="{00000000-0000-0000-0000-000000000000}"/>
          </ac:spMkLst>
        </pc:spChg>
      </pc:sldChg>
      <pc:sldChg chg="addSp delSp modSp add mod modClrScheme chgLayout">
        <pc:chgData name="Ricardo Sérgio Souza e Sousa" userId="b2322a61-6b0f-42d2-a39f-a9a5f08999e4" providerId="ADAL" clId="{C9348547-B843-49F4-9FA0-D5A2F3060976}" dt="2021-09-13T14:20:53.867" v="4831" actId="14100"/>
        <pc:sldMkLst>
          <pc:docMk/>
          <pc:sldMk cId="776039832" sldId="284"/>
        </pc:sldMkLst>
        <pc:spChg chg="add del mod modVis">
          <ac:chgData name="Ricardo Sérgio Souza e Sousa" userId="b2322a61-6b0f-42d2-a39f-a9a5f08999e4" providerId="ADAL" clId="{C9348547-B843-49F4-9FA0-D5A2F3060976}" dt="2021-09-13T14:20:03.289" v="4707"/>
          <ac:spMkLst>
            <pc:docMk/>
            <pc:sldMk cId="776039832" sldId="284"/>
            <ac:spMk id="3" creationId="{6F1BD1AA-8814-47FF-8698-E29E6DD3F1EE}"/>
          </ac:spMkLst>
        </pc:spChg>
        <pc:spChg chg="mod">
          <ac:chgData name="Ricardo Sérgio Souza e Sousa" userId="b2322a61-6b0f-42d2-a39f-a9a5f08999e4" providerId="ADAL" clId="{C9348547-B843-49F4-9FA0-D5A2F3060976}" dt="2021-09-13T14:20:53.867" v="4831" actId="14100"/>
          <ac:spMkLst>
            <pc:docMk/>
            <pc:sldMk cId="776039832" sldId="284"/>
            <ac:spMk id="4" creationId="{00000000-0000-0000-0000-000000000000}"/>
          </ac:spMkLst>
        </pc:spChg>
        <pc:spChg chg="add del mod modVis">
          <ac:chgData name="Ricardo Sérgio Souza e Sousa" userId="b2322a61-6b0f-42d2-a39f-a9a5f08999e4" providerId="ADAL" clId="{C9348547-B843-49F4-9FA0-D5A2F3060976}" dt="2021-09-13T14:20:06.991" v="4765"/>
          <ac:spMkLst>
            <pc:docMk/>
            <pc:sldMk cId="776039832" sldId="284"/>
            <ac:spMk id="6" creationId="{493CC2A5-9792-422B-AC45-AD6FB4829196}"/>
          </ac:spMkLst>
        </pc:spChg>
        <pc:spChg chg="add del mod modVis">
          <ac:chgData name="Ricardo Sérgio Souza e Sousa" userId="b2322a61-6b0f-42d2-a39f-a9a5f08999e4" providerId="ADAL" clId="{C9348547-B843-49F4-9FA0-D5A2F3060976}" dt="2021-09-13T14:20:16.631" v="4824"/>
          <ac:spMkLst>
            <pc:docMk/>
            <pc:sldMk cId="776039832" sldId="284"/>
            <ac:spMk id="7" creationId="{55FC01C6-F79A-456B-B241-53529AA318D9}"/>
          </ac:spMkLst>
        </pc:spChg>
        <pc:spChg chg="mod ord">
          <ac:chgData name="Ricardo Sérgio Souza e Sousa" userId="b2322a61-6b0f-42d2-a39f-a9a5f08999e4" providerId="ADAL" clId="{C9348547-B843-49F4-9FA0-D5A2F3060976}" dt="2021-09-13T14:20:16.609" v="4784" actId="948"/>
          <ac:spMkLst>
            <pc:docMk/>
            <pc:sldMk cId="776039832" sldId="284"/>
            <ac:spMk id="10" creationId="{00000000-0000-0000-0000-000000000000}"/>
          </ac:spMkLst>
        </pc:spChg>
        <pc:graphicFrameChg chg="add mod ord modVis replST">
          <ac:chgData name="Ricardo Sérgio Souza e Sousa" userId="b2322a61-6b0f-42d2-a39f-a9a5f08999e4" providerId="ADAL" clId="{C9348547-B843-49F4-9FA0-D5A2F3060976}" dt="2021-09-13T14:20:16.647" v="4826"/>
          <ac:graphicFrameMkLst>
            <pc:docMk/>
            <pc:sldMk cId="776039832" sldId="284"/>
            <ac:graphicFrameMk id="5" creationId="{33137001-C74B-4119-9497-E756A350AC8F}"/>
          </ac:graphicFrameMkLst>
        </pc:graphicFrameChg>
        <pc:picChg chg="mod">
          <ac:chgData name="Ricardo Sérgio Souza e Sousa" userId="b2322a61-6b0f-42d2-a39f-a9a5f08999e4" providerId="ADAL" clId="{C9348547-B843-49F4-9FA0-D5A2F3060976}" dt="2021-09-13T14:20:30.374" v="4829" actId="1076"/>
          <ac:picMkLst>
            <pc:docMk/>
            <pc:sldMk cId="776039832" sldId="284"/>
            <ac:picMk id="2" creationId="{00000000-0000-0000-0000-000000000000}"/>
          </ac:picMkLst>
        </pc:picChg>
      </pc:sldChg>
      <pc:sldChg chg="modSp">
        <pc:chgData name="Ricardo Sérgio Souza e Sousa" userId="b2322a61-6b0f-42d2-a39f-a9a5f08999e4" providerId="ADAL" clId="{C9348547-B843-49F4-9FA0-D5A2F3060976}" dt="2021-09-13T13:06:25.589" v="1808" actId="120"/>
        <pc:sldMkLst>
          <pc:docMk/>
          <pc:sldMk cId="0" sldId="285"/>
        </pc:sldMkLst>
        <pc:spChg chg="mod">
          <ac:chgData name="Ricardo Sérgio Souza e Sousa" userId="b2322a61-6b0f-42d2-a39f-a9a5f08999e4" providerId="ADAL" clId="{C9348547-B843-49F4-9FA0-D5A2F3060976}" dt="2021-09-13T13:06:25.589" v="1808" actId="120"/>
          <ac:spMkLst>
            <pc:docMk/>
            <pc:sldMk cId="0" sldId="285"/>
            <ac:spMk id="69636" creationId="{2FBF6C43-1094-49DC-9488-8445F322D4A9}"/>
          </ac:spMkLst>
        </pc:spChg>
      </pc:sldChg>
      <pc:sldChg chg="addSp delSp modSp mod">
        <pc:chgData name="Ricardo Sérgio Souza e Sousa" userId="b2322a61-6b0f-42d2-a39f-a9a5f08999e4" providerId="ADAL" clId="{C9348547-B843-49F4-9FA0-D5A2F3060976}" dt="2021-09-13T13:06:54.016" v="1869"/>
        <pc:sldMkLst>
          <pc:docMk/>
          <pc:sldMk cId="0" sldId="286"/>
        </pc:sldMkLst>
        <pc:spChg chg="add del mod modVis">
          <ac:chgData name="Ricardo Sérgio Souza e Sousa" userId="b2322a61-6b0f-42d2-a39f-a9a5f08999e4" providerId="ADAL" clId="{C9348547-B843-49F4-9FA0-D5A2F3060976}" dt="2021-09-13T13:06:53.931" v="1853"/>
          <ac:spMkLst>
            <pc:docMk/>
            <pc:sldMk cId="0" sldId="286"/>
            <ac:spMk id="2" creationId="{8095BFF9-4F74-4A9D-9D4B-CB7FE214A7CD}"/>
          </ac:spMkLst>
        </pc:spChg>
        <pc:spChg chg="mod">
          <ac:chgData name="Ricardo Sérgio Souza e Sousa" userId="b2322a61-6b0f-42d2-a39f-a9a5f08999e4" providerId="ADAL" clId="{C9348547-B843-49F4-9FA0-D5A2F3060976}" dt="2021-09-13T13:06:37.458" v="1811" actId="120"/>
          <ac:spMkLst>
            <pc:docMk/>
            <pc:sldMk cId="0" sldId="286"/>
            <ac:spMk id="37892" creationId="{213F40E3-4EAC-4223-8F26-DA992585600A}"/>
          </ac:spMkLst>
        </pc:spChg>
        <pc:spChg chg="mod">
          <ac:chgData name="Ricardo Sérgio Souza e Sousa" userId="b2322a61-6b0f-42d2-a39f-a9a5f08999e4" providerId="ADAL" clId="{C9348547-B843-49F4-9FA0-D5A2F3060976}" dt="2021-09-13T13:06:53.580" v="1813"/>
          <ac:spMkLst>
            <pc:docMk/>
            <pc:sldMk cId="0" sldId="286"/>
            <ac:spMk id="71682" creationId="{6B9BDB0A-B326-48CE-A9C5-7A172824DBFF}"/>
          </ac:spMkLst>
        </pc:spChg>
        <pc:graphicFrameChg chg="add mod ord modVis replST">
          <ac:chgData name="Ricardo Sérgio Souza e Sousa" userId="b2322a61-6b0f-42d2-a39f-a9a5f08999e4" providerId="ADAL" clId="{C9348547-B843-49F4-9FA0-D5A2F3060976}" dt="2021-09-13T13:06:54.016" v="1869"/>
          <ac:graphicFrameMkLst>
            <pc:docMk/>
            <pc:sldMk cId="0" sldId="286"/>
            <ac:graphicFrameMk id="3" creationId="{7D03CA6C-AFD8-4ABD-887A-37056A74CC00}"/>
          </ac:graphicFrameMkLst>
        </pc:graphicFrameChg>
      </pc:sldChg>
      <pc:sldChg chg="modSp">
        <pc:chgData name="Ricardo Sérgio Souza e Sousa" userId="b2322a61-6b0f-42d2-a39f-a9a5f08999e4" providerId="ADAL" clId="{C9348547-B843-49F4-9FA0-D5A2F3060976}" dt="2021-09-13T13:07:02.785" v="1872" actId="120"/>
        <pc:sldMkLst>
          <pc:docMk/>
          <pc:sldMk cId="0" sldId="287"/>
        </pc:sldMkLst>
        <pc:spChg chg="mod">
          <ac:chgData name="Ricardo Sérgio Souza e Sousa" userId="b2322a61-6b0f-42d2-a39f-a9a5f08999e4" providerId="ADAL" clId="{C9348547-B843-49F4-9FA0-D5A2F3060976}" dt="2021-09-13T13:07:02.785" v="1872" actId="120"/>
          <ac:spMkLst>
            <pc:docMk/>
            <pc:sldMk cId="0" sldId="287"/>
            <ac:spMk id="38916" creationId="{22FFA57D-5A91-427B-827A-A5DF5E812A27}"/>
          </ac:spMkLst>
        </pc:spChg>
      </pc:sldChg>
      <pc:sldChg chg="addSp delSp modSp mod">
        <pc:chgData name="Ricardo Sérgio Souza e Sousa" userId="b2322a61-6b0f-42d2-a39f-a9a5f08999e4" providerId="ADAL" clId="{C9348547-B843-49F4-9FA0-D5A2F3060976}" dt="2021-09-13T13:07:14.921" v="1977"/>
        <pc:sldMkLst>
          <pc:docMk/>
          <pc:sldMk cId="0" sldId="288"/>
        </pc:sldMkLst>
        <pc:spChg chg="add del mod modVis">
          <ac:chgData name="Ricardo Sérgio Souza e Sousa" userId="b2322a61-6b0f-42d2-a39f-a9a5f08999e4" providerId="ADAL" clId="{C9348547-B843-49F4-9FA0-D5A2F3060976}" dt="2021-09-13T13:07:12.726" v="1917"/>
          <ac:spMkLst>
            <pc:docMk/>
            <pc:sldMk cId="0" sldId="288"/>
            <ac:spMk id="2" creationId="{F3A30773-F084-4AEB-8040-A57CAC49575B}"/>
          </ac:spMkLst>
        </pc:spChg>
        <pc:spChg chg="add del mod modVis">
          <ac:chgData name="Ricardo Sérgio Souza e Sousa" userId="b2322a61-6b0f-42d2-a39f-a9a5f08999e4" providerId="ADAL" clId="{C9348547-B843-49F4-9FA0-D5A2F3060976}" dt="2021-09-13T13:07:14.905" v="1975"/>
          <ac:spMkLst>
            <pc:docMk/>
            <pc:sldMk cId="0" sldId="288"/>
            <ac:spMk id="4" creationId="{C07C25A0-B7F9-430B-BBE1-466E21ABBBE4}"/>
          </ac:spMkLst>
        </pc:spChg>
        <pc:spChg chg="mod">
          <ac:chgData name="Ricardo Sérgio Souza e Sousa" userId="b2322a61-6b0f-42d2-a39f-a9a5f08999e4" providerId="ADAL" clId="{C9348547-B843-49F4-9FA0-D5A2F3060976}" dt="2021-09-13T13:07:09.332" v="1875" actId="120"/>
          <ac:spMkLst>
            <pc:docMk/>
            <pc:sldMk cId="0" sldId="288"/>
            <ac:spMk id="39940" creationId="{25D26B2D-04AE-43A3-AE77-C4AD9C2EEB25}"/>
          </ac:spMkLst>
        </pc:spChg>
        <pc:spChg chg="mod">
          <ac:chgData name="Ricardo Sérgio Souza e Sousa" userId="b2322a61-6b0f-42d2-a39f-a9a5f08999e4" providerId="ADAL" clId="{C9348547-B843-49F4-9FA0-D5A2F3060976}" dt="2021-09-13T13:07:14.890" v="1935"/>
          <ac:spMkLst>
            <pc:docMk/>
            <pc:sldMk cId="0" sldId="288"/>
            <ac:spMk id="75778" creationId="{DCB46384-1FFA-4D82-B387-B1599F0BF680}"/>
          </ac:spMkLst>
        </pc:spChg>
        <pc:graphicFrameChg chg="add mod ord modVis replST">
          <ac:chgData name="Ricardo Sérgio Souza e Sousa" userId="b2322a61-6b0f-42d2-a39f-a9a5f08999e4" providerId="ADAL" clId="{C9348547-B843-49F4-9FA0-D5A2F3060976}" dt="2021-09-13T13:07:14.921" v="1977"/>
          <ac:graphicFrameMkLst>
            <pc:docMk/>
            <pc:sldMk cId="0" sldId="288"/>
            <ac:graphicFrameMk id="3" creationId="{B96F959C-A9F9-4BD5-BD51-D9F58533E2D3}"/>
          </ac:graphicFrameMkLst>
        </pc:graphicFrameChg>
      </pc:sldChg>
      <pc:sldChg chg="addSp delSp modSp mod">
        <pc:chgData name="Ricardo Sérgio Souza e Sousa" userId="b2322a61-6b0f-42d2-a39f-a9a5f08999e4" providerId="ADAL" clId="{C9348547-B843-49F4-9FA0-D5A2F3060976}" dt="2021-09-13T13:07:25.562" v="2038"/>
        <pc:sldMkLst>
          <pc:docMk/>
          <pc:sldMk cId="0" sldId="289"/>
        </pc:sldMkLst>
        <pc:spChg chg="add del mod modVis">
          <ac:chgData name="Ricardo Sérgio Souza e Sousa" userId="b2322a61-6b0f-42d2-a39f-a9a5f08999e4" providerId="ADAL" clId="{C9348547-B843-49F4-9FA0-D5A2F3060976}" dt="2021-09-13T13:07:25.461" v="2022"/>
          <ac:spMkLst>
            <pc:docMk/>
            <pc:sldMk cId="0" sldId="289"/>
            <ac:spMk id="2" creationId="{8AEB80B7-B35F-4482-BE0B-6A786963F0E8}"/>
          </ac:spMkLst>
        </pc:spChg>
        <pc:spChg chg="mod">
          <ac:chgData name="Ricardo Sérgio Souza e Sousa" userId="b2322a61-6b0f-42d2-a39f-a9a5f08999e4" providerId="ADAL" clId="{C9348547-B843-49F4-9FA0-D5A2F3060976}" dt="2021-09-13T13:07:22.387" v="1980" actId="120"/>
          <ac:spMkLst>
            <pc:docMk/>
            <pc:sldMk cId="0" sldId="289"/>
            <ac:spMk id="40964" creationId="{B4E9B9F8-A983-47F0-8CC5-1C9BF5613D26}"/>
          </ac:spMkLst>
        </pc:spChg>
        <pc:spChg chg="mod">
          <ac:chgData name="Ricardo Sérgio Souza e Sousa" userId="b2322a61-6b0f-42d2-a39f-a9a5f08999e4" providerId="ADAL" clId="{C9348547-B843-49F4-9FA0-D5A2F3060976}" dt="2021-09-13T13:07:25.431" v="1982"/>
          <ac:spMkLst>
            <pc:docMk/>
            <pc:sldMk cId="0" sldId="289"/>
            <ac:spMk id="77826" creationId="{12D67343-AD96-4D81-B171-747ACAF2FAE4}"/>
          </ac:spMkLst>
        </pc:spChg>
        <pc:graphicFrameChg chg="add mod ord modVis replST">
          <ac:chgData name="Ricardo Sérgio Souza e Sousa" userId="b2322a61-6b0f-42d2-a39f-a9a5f08999e4" providerId="ADAL" clId="{C9348547-B843-49F4-9FA0-D5A2F3060976}" dt="2021-09-13T13:07:25.562" v="2038"/>
          <ac:graphicFrameMkLst>
            <pc:docMk/>
            <pc:sldMk cId="0" sldId="289"/>
            <ac:graphicFrameMk id="3" creationId="{B0C46834-4E8C-4826-8CFA-69B5C05BB44B}"/>
          </ac:graphicFrameMkLst>
        </pc:graphicFrameChg>
      </pc:sldChg>
      <pc:sldChg chg="delSp modSp mod">
        <pc:chgData name="Ricardo Sérgio Souza e Sousa" userId="b2322a61-6b0f-42d2-a39f-a9a5f08999e4" providerId="ADAL" clId="{C9348547-B843-49F4-9FA0-D5A2F3060976}" dt="2021-09-13T13:07:56.840" v="2042" actId="478"/>
        <pc:sldMkLst>
          <pc:docMk/>
          <pc:sldMk cId="0" sldId="290"/>
        </pc:sldMkLst>
        <pc:spChg chg="mod">
          <ac:chgData name="Ricardo Sérgio Souza e Sousa" userId="b2322a61-6b0f-42d2-a39f-a9a5f08999e4" providerId="ADAL" clId="{C9348547-B843-49F4-9FA0-D5A2F3060976}" dt="2021-09-13T13:07:44.258" v="2041" actId="120"/>
          <ac:spMkLst>
            <pc:docMk/>
            <pc:sldMk cId="0" sldId="290"/>
            <ac:spMk id="41989" creationId="{C4716E6F-C3DD-4853-AE34-9B8F3ABF8DF4}"/>
          </ac:spMkLst>
        </pc:spChg>
        <pc:picChg chg="del">
          <ac:chgData name="Ricardo Sérgio Souza e Sousa" userId="b2322a61-6b0f-42d2-a39f-a9a5f08999e4" providerId="ADAL" clId="{C9348547-B843-49F4-9FA0-D5A2F3060976}" dt="2021-09-13T13:07:56.840" v="2042" actId="478"/>
          <ac:picMkLst>
            <pc:docMk/>
            <pc:sldMk cId="0" sldId="290"/>
            <ac:picMk id="41988" creationId="{CDC72FA5-B453-43C6-8F01-B2B7DABCD4F5}"/>
          </ac:picMkLst>
        </pc:picChg>
      </pc:sldChg>
      <pc:sldChg chg="modSp add del mod modClrScheme chgLayout">
        <pc:chgData name="Ricardo Sérgio Souza e Sousa" userId="b2322a61-6b0f-42d2-a39f-a9a5f08999e4" providerId="ADAL" clId="{C9348547-B843-49F4-9FA0-D5A2F3060976}" dt="2021-09-13T14:02:17.624" v="3875" actId="47"/>
        <pc:sldMkLst>
          <pc:docMk/>
          <pc:sldMk cId="106612756" sldId="291"/>
        </pc:sldMkLst>
        <pc:spChg chg="mod ord">
          <ac:chgData name="Ricardo Sérgio Souza e Sousa" userId="b2322a61-6b0f-42d2-a39f-a9a5f08999e4" providerId="ADAL" clId="{C9348547-B843-49F4-9FA0-D5A2F3060976}" dt="2021-09-13T13:16:39.387" v="2084"/>
          <ac:spMkLst>
            <pc:docMk/>
            <pc:sldMk cId="106612756" sldId="291"/>
            <ac:spMk id="3" creationId="{00000000-0000-0000-0000-000000000000}"/>
          </ac:spMkLst>
        </pc:spChg>
        <pc:spChg chg="mod ord">
          <ac:chgData name="Ricardo Sérgio Souza e Sousa" userId="b2322a61-6b0f-42d2-a39f-a9a5f08999e4" providerId="ADAL" clId="{C9348547-B843-49F4-9FA0-D5A2F3060976}" dt="2021-09-13T13:16:39.387" v="2084"/>
          <ac:spMkLst>
            <pc:docMk/>
            <pc:sldMk cId="106612756" sldId="291"/>
            <ac:spMk id="4" creationId="{00000000-0000-0000-0000-000000000000}"/>
          </ac:spMkLst>
        </pc:spChg>
      </pc:sldChg>
      <pc:sldChg chg="delSp modSp mod delAnim">
        <pc:chgData name="Ricardo Sérgio Souza e Sousa" userId="b2322a61-6b0f-42d2-a39f-a9a5f08999e4" providerId="ADAL" clId="{C9348547-B843-49F4-9FA0-D5A2F3060976}" dt="2021-09-13T14:27:51.613" v="5006" actId="1036"/>
        <pc:sldMkLst>
          <pc:docMk/>
          <pc:sldMk cId="0" sldId="292"/>
        </pc:sldMkLst>
        <pc:spChg chg="mod">
          <ac:chgData name="Ricardo Sérgio Souza e Sousa" userId="b2322a61-6b0f-42d2-a39f-a9a5f08999e4" providerId="ADAL" clId="{C9348547-B843-49F4-9FA0-D5A2F3060976}" dt="2021-09-13T13:08:42.792" v="2051" actId="14100"/>
          <ac:spMkLst>
            <pc:docMk/>
            <pc:sldMk cId="0" sldId="292"/>
            <ac:spMk id="83971" creationId="{B50D0790-4481-4BD2-BEB1-4B7EABC57E21}"/>
          </ac:spMkLst>
        </pc:spChg>
        <pc:spChg chg="mod">
          <ac:chgData name="Ricardo Sérgio Souza e Sousa" userId="b2322a61-6b0f-42d2-a39f-a9a5f08999e4" providerId="ADAL" clId="{C9348547-B843-49F4-9FA0-D5A2F3060976}" dt="2021-09-13T14:27:51.613" v="5006" actId="1036"/>
          <ac:spMkLst>
            <pc:docMk/>
            <pc:sldMk cId="0" sldId="292"/>
            <ac:spMk id="83974" creationId="{4F87F8BD-9512-4A48-A860-5F7B11A34DFC}"/>
          </ac:spMkLst>
        </pc:spChg>
        <pc:picChg chg="del">
          <ac:chgData name="Ricardo Sérgio Souza e Sousa" userId="b2322a61-6b0f-42d2-a39f-a9a5f08999e4" providerId="ADAL" clId="{C9348547-B843-49F4-9FA0-D5A2F3060976}" dt="2021-09-13T13:08:37.123" v="2049" actId="478"/>
          <ac:picMkLst>
            <pc:docMk/>
            <pc:sldMk cId="0" sldId="292"/>
            <ac:picMk id="83972" creationId="{82E89EBD-9ABE-4345-BF8B-5299D66C82DE}"/>
          </ac:picMkLst>
        </pc:picChg>
      </pc:sldChg>
      <pc:sldChg chg="modSp">
        <pc:chgData name="Ricardo Sérgio Souza e Sousa" userId="b2322a61-6b0f-42d2-a39f-a9a5f08999e4" providerId="ADAL" clId="{C9348547-B843-49F4-9FA0-D5A2F3060976}" dt="2021-09-13T12:55:48.879" v="1612" actId="1038"/>
        <pc:sldMkLst>
          <pc:docMk/>
          <pc:sldMk cId="0" sldId="293"/>
        </pc:sldMkLst>
        <pc:spChg chg="mod">
          <ac:chgData name="Ricardo Sérgio Souza e Sousa" userId="b2322a61-6b0f-42d2-a39f-a9a5f08999e4" providerId="ADAL" clId="{C9348547-B843-49F4-9FA0-D5A2F3060976}" dt="2021-09-13T12:55:48.879" v="1612" actId="1038"/>
          <ac:spMkLst>
            <pc:docMk/>
            <pc:sldMk cId="0" sldId="293"/>
            <ac:spMk id="19460" creationId="{008C4F18-25C8-4AE4-8B40-9F82018B5560}"/>
          </ac:spMkLst>
        </pc:spChg>
        <pc:spChg chg="mod">
          <ac:chgData name="Ricardo Sérgio Souza e Sousa" userId="b2322a61-6b0f-42d2-a39f-a9a5f08999e4" providerId="ADAL" clId="{C9348547-B843-49F4-9FA0-D5A2F3060976}" dt="2021-09-13T12:55:48.879" v="1612" actId="1038"/>
          <ac:spMkLst>
            <pc:docMk/>
            <pc:sldMk cId="0" sldId="293"/>
            <ac:spMk id="19461" creationId="{610C0157-3913-4776-8469-1338DAA9A936}"/>
          </ac:spMkLst>
        </pc:spChg>
        <pc:spChg chg="mod">
          <ac:chgData name="Ricardo Sérgio Souza e Sousa" userId="b2322a61-6b0f-42d2-a39f-a9a5f08999e4" providerId="ADAL" clId="{C9348547-B843-49F4-9FA0-D5A2F3060976}" dt="2021-09-13T12:55:48.879" v="1612" actId="1038"/>
          <ac:spMkLst>
            <pc:docMk/>
            <pc:sldMk cId="0" sldId="293"/>
            <ac:spMk id="19462" creationId="{9B1CA2A8-4420-4F3F-9764-CEE09864DDFF}"/>
          </ac:spMkLst>
        </pc:spChg>
        <pc:spChg chg="mod">
          <ac:chgData name="Ricardo Sérgio Souza e Sousa" userId="b2322a61-6b0f-42d2-a39f-a9a5f08999e4" providerId="ADAL" clId="{C9348547-B843-49F4-9FA0-D5A2F3060976}" dt="2021-09-13T12:55:48.879" v="1612" actId="1038"/>
          <ac:spMkLst>
            <pc:docMk/>
            <pc:sldMk cId="0" sldId="293"/>
            <ac:spMk id="19463" creationId="{D2D0D24F-AE12-4E4A-9B30-E1541249478D}"/>
          </ac:spMkLst>
        </pc:spChg>
        <pc:spChg chg="mod">
          <ac:chgData name="Ricardo Sérgio Souza e Sousa" userId="b2322a61-6b0f-42d2-a39f-a9a5f08999e4" providerId="ADAL" clId="{C9348547-B843-49F4-9FA0-D5A2F3060976}" dt="2021-09-13T12:55:48.879" v="1612" actId="1038"/>
          <ac:spMkLst>
            <pc:docMk/>
            <pc:sldMk cId="0" sldId="293"/>
            <ac:spMk id="19464" creationId="{FE3A7EA0-0980-40CF-B496-FCDEE4C35F2B}"/>
          </ac:spMkLst>
        </pc:spChg>
        <pc:spChg chg="mod">
          <ac:chgData name="Ricardo Sérgio Souza e Sousa" userId="b2322a61-6b0f-42d2-a39f-a9a5f08999e4" providerId="ADAL" clId="{C9348547-B843-49F4-9FA0-D5A2F3060976}" dt="2021-09-13T12:55:48.879" v="1612" actId="1038"/>
          <ac:spMkLst>
            <pc:docMk/>
            <pc:sldMk cId="0" sldId="293"/>
            <ac:spMk id="19465" creationId="{C8C19F1D-23FE-41A3-B2BC-6678330550C2}"/>
          </ac:spMkLst>
        </pc:spChg>
        <pc:spChg chg="mod">
          <ac:chgData name="Ricardo Sérgio Souza e Sousa" userId="b2322a61-6b0f-42d2-a39f-a9a5f08999e4" providerId="ADAL" clId="{C9348547-B843-49F4-9FA0-D5A2F3060976}" dt="2021-09-13T12:55:48.879" v="1612" actId="1038"/>
          <ac:spMkLst>
            <pc:docMk/>
            <pc:sldMk cId="0" sldId="293"/>
            <ac:spMk id="19466" creationId="{3B635171-A9ED-4952-A7D8-A79C29FC7434}"/>
          </ac:spMkLst>
        </pc:spChg>
        <pc:spChg chg="mod">
          <ac:chgData name="Ricardo Sérgio Souza e Sousa" userId="b2322a61-6b0f-42d2-a39f-a9a5f08999e4" providerId="ADAL" clId="{C9348547-B843-49F4-9FA0-D5A2F3060976}" dt="2021-09-13T12:55:48.879" v="1612" actId="1038"/>
          <ac:spMkLst>
            <pc:docMk/>
            <pc:sldMk cId="0" sldId="293"/>
            <ac:spMk id="19467" creationId="{DA93BF36-A664-4A07-B598-A0C3F85B01E5}"/>
          </ac:spMkLst>
        </pc:spChg>
        <pc:spChg chg="mod">
          <ac:chgData name="Ricardo Sérgio Souza e Sousa" userId="b2322a61-6b0f-42d2-a39f-a9a5f08999e4" providerId="ADAL" clId="{C9348547-B843-49F4-9FA0-D5A2F3060976}" dt="2021-09-13T12:55:48.879" v="1612" actId="1038"/>
          <ac:spMkLst>
            <pc:docMk/>
            <pc:sldMk cId="0" sldId="293"/>
            <ac:spMk id="19468" creationId="{7D51B6EF-A8EC-46DE-BE4F-12D148117A8B}"/>
          </ac:spMkLst>
        </pc:spChg>
        <pc:spChg chg="mod">
          <ac:chgData name="Ricardo Sérgio Souza e Sousa" userId="b2322a61-6b0f-42d2-a39f-a9a5f08999e4" providerId="ADAL" clId="{C9348547-B843-49F4-9FA0-D5A2F3060976}" dt="2021-09-13T12:55:48.879" v="1612" actId="1038"/>
          <ac:spMkLst>
            <pc:docMk/>
            <pc:sldMk cId="0" sldId="293"/>
            <ac:spMk id="19469" creationId="{86175DB5-20FA-4318-B359-4DAEC7251857}"/>
          </ac:spMkLst>
        </pc:spChg>
        <pc:spChg chg="mod">
          <ac:chgData name="Ricardo Sérgio Souza e Sousa" userId="b2322a61-6b0f-42d2-a39f-a9a5f08999e4" providerId="ADAL" clId="{C9348547-B843-49F4-9FA0-D5A2F3060976}" dt="2021-09-13T12:55:48.879" v="1612" actId="1038"/>
          <ac:spMkLst>
            <pc:docMk/>
            <pc:sldMk cId="0" sldId="293"/>
            <ac:spMk id="19470" creationId="{84194C8E-7B09-4412-9C78-5BB51A2E5035}"/>
          </ac:spMkLst>
        </pc:spChg>
        <pc:spChg chg="mod">
          <ac:chgData name="Ricardo Sérgio Souza e Sousa" userId="b2322a61-6b0f-42d2-a39f-a9a5f08999e4" providerId="ADAL" clId="{C9348547-B843-49F4-9FA0-D5A2F3060976}" dt="2021-09-13T12:55:48.879" v="1612" actId="1038"/>
          <ac:spMkLst>
            <pc:docMk/>
            <pc:sldMk cId="0" sldId="293"/>
            <ac:spMk id="19471" creationId="{E3FDC2EF-39EC-4F10-BF9E-F2A99D7F1421}"/>
          </ac:spMkLst>
        </pc:spChg>
        <pc:spChg chg="mod">
          <ac:chgData name="Ricardo Sérgio Souza e Sousa" userId="b2322a61-6b0f-42d2-a39f-a9a5f08999e4" providerId="ADAL" clId="{C9348547-B843-49F4-9FA0-D5A2F3060976}" dt="2021-09-13T12:55:48.879" v="1612" actId="1038"/>
          <ac:spMkLst>
            <pc:docMk/>
            <pc:sldMk cId="0" sldId="293"/>
            <ac:spMk id="19472" creationId="{98601C46-A02B-4C11-B60F-81E9BFE380A0}"/>
          </ac:spMkLst>
        </pc:spChg>
        <pc:spChg chg="mod">
          <ac:chgData name="Ricardo Sérgio Souza e Sousa" userId="b2322a61-6b0f-42d2-a39f-a9a5f08999e4" providerId="ADAL" clId="{C9348547-B843-49F4-9FA0-D5A2F3060976}" dt="2021-09-13T12:55:48.879" v="1612" actId="1038"/>
          <ac:spMkLst>
            <pc:docMk/>
            <pc:sldMk cId="0" sldId="293"/>
            <ac:spMk id="19473" creationId="{543E25DB-2CD7-48BC-BF53-984F30F3DE8F}"/>
          </ac:spMkLst>
        </pc:spChg>
        <pc:spChg chg="mod">
          <ac:chgData name="Ricardo Sérgio Souza e Sousa" userId="b2322a61-6b0f-42d2-a39f-a9a5f08999e4" providerId="ADAL" clId="{C9348547-B843-49F4-9FA0-D5A2F3060976}" dt="2021-09-13T12:55:42.700" v="1592" actId="120"/>
          <ac:spMkLst>
            <pc:docMk/>
            <pc:sldMk cId="0" sldId="293"/>
            <ac:spMk id="86019" creationId="{DB731EE0-FF90-4154-A791-21FED7C31174}"/>
          </ac:spMkLst>
        </pc:spChg>
        <pc:grpChg chg="mod">
          <ac:chgData name="Ricardo Sérgio Souza e Sousa" userId="b2322a61-6b0f-42d2-a39f-a9a5f08999e4" providerId="ADAL" clId="{C9348547-B843-49F4-9FA0-D5A2F3060976}" dt="2021-09-13T12:55:48.879" v="1612" actId="1038"/>
          <ac:grpSpMkLst>
            <pc:docMk/>
            <pc:sldMk cId="0" sldId="293"/>
            <ac:grpSpMk id="2" creationId="{AD99AB96-FFEA-4669-AED8-AD4C98B553C3}"/>
          </ac:grpSpMkLst>
        </pc:grpChg>
      </pc:sldChg>
      <pc:sldChg chg="modSp">
        <pc:chgData name="Ricardo Sérgio Souza e Sousa" userId="b2322a61-6b0f-42d2-a39f-a9a5f08999e4" providerId="ADAL" clId="{C9348547-B843-49F4-9FA0-D5A2F3060976}" dt="2021-09-13T13:05:44.147" v="1796" actId="120"/>
        <pc:sldMkLst>
          <pc:docMk/>
          <pc:sldMk cId="0" sldId="294"/>
        </pc:sldMkLst>
        <pc:spChg chg="mod">
          <ac:chgData name="Ricardo Sérgio Souza e Sousa" userId="b2322a61-6b0f-42d2-a39f-a9a5f08999e4" providerId="ADAL" clId="{C9348547-B843-49F4-9FA0-D5A2F3060976}" dt="2021-09-13T13:05:44.147" v="1796" actId="120"/>
          <ac:spMkLst>
            <pc:docMk/>
            <pc:sldMk cId="0" sldId="294"/>
            <ac:spMk id="88067" creationId="{647AECFA-BFC0-4C39-8A7B-A3AF417967CE}"/>
          </ac:spMkLst>
        </pc:spChg>
      </pc:sldChg>
      <pc:sldChg chg="modSp">
        <pc:chgData name="Ricardo Sérgio Souza e Sousa" userId="b2322a61-6b0f-42d2-a39f-a9a5f08999e4" providerId="ADAL" clId="{C9348547-B843-49F4-9FA0-D5A2F3060976}" dt="2021-09-13T12:54:44.141" v="1581" actId="12"/>
        <pc:sldMkLst>
          <pc:docMk/>
          <pc:sldMk cId="0" sldId="297"/>
        </pc:sldMkLst>
        <pc:spChg chg="mod">
          <ac:chgData name="Ricardo Sérgio Souza e Sousa" userId="b2322a61-6b0f-42d2-a39f-a9a5f08999e4" providerId="ADAL" clId="{C9348547-B843-49F4-9FA0-D5A2F3060976}" dt="2021-09-13T12:53:25.937" v="1572" actId="14100"/>
          <ac:spMkLst>
            <pc:docMk/>
            <pc:sldMk cId="0" sldId="297"/>
            <ac:spMk id="92164" creationId="{58C17160-BB4E-4058-AD8E-74BF0074A2CC}"/>
          </ac:spMkLst>
        </pc:spChg>
        <pc:spChg chg="mod">
          <ac:chgData name="Ricardo Sérgio Souza e Sousa" userId="b2322a61-6b0f-42d2-a39f-a9a5f08999e4" providerId="ADAL" clId="{C9348547-B843-49F4-9FA0-D5A2F3060976}" dt="2021-09-13T12:54:44.141" v="1581" actId="12"/>
          <ac:spMkLst>
            <pc:docMk/>
            <pc:sldMk cId="0" sldId="297"/>
            <ac:spMk id="123907" creationId="{3B3EFD6E-DB20-4C89-B122-ED3509A34320}"/>
          </ac:spMkLst>
        </pc:spChg>
      </pc:sldChg>
      <pc:sldChg chg="delSp modSp mod">
        <pc:chgData name="Ricardo Sérgio Souza e Sousa" userId="b2322a61-6b0f-42d2-a39f-a9a5f08999e4" providerId="ADAL" clId="{C9348547-B843-49F4-9FA0-D5A2F3060976}" dt="2021-09-13T12:53:01.404" v="1566" actId="20577"/>
        <pc:sldMkLst>
          <pc:docMk/>
          <pc:sldMk cId="0" sldId="300"/>
        </pc:sldMkLst>
        <pc:spChg chg="del mod">
          <ac:chgData name="Ricardo Sérgio Souza e Sousa" userId="b2322a61-6b0f-42d2-a39f-a9a5f08999e4" providerId="ADAL" clId="{C9348547-B843-49F4-9FA0-D5A2F3060976}" dt="2021-09-13T12:52:16.224" v="1554" actId="478"/>
          <ac:spMkLst>
            <pc:docMk/>
            <pc:sldMk cId="0" sldId="300"/>
            <ac:spMk id="12290" creationId="{839DD059-2CD4-4C08-B905-044DD5A6C268}"/>
          </ac:spMkLst>
        </pc:spChg>
        <pc:spChg chg="mod">
          <ac:chgData name="Ricardo Sérgio Souza e Sousa" userId="b2322a61-6b0f-42d2-a39f-a9a5f08999e4" providerId="ADAL" clId="{C9348547-B843-49F4-9FA0-D5A2F3060976}" dt="2021-09-13T12:53:01.404" v="1566" actId="20577"/>
          <ac:spMkLst>
            <pc:docMk/>
            <pc:sldMk cId="0" sldId="300"/>
            <ac:spMk id="96259" creationId="{49708D19-4823-420B-96AD-DD9C0C966DDE}"/>
          </ac:spMkLst>
        </pc:spChg>
      </pc:sldChg>
      <pc:sldChg chg="modSp">
        <pc:chgData name="Ricardo Sérgio Souza e Sousa" userId="b2322a61-6b0f-42d2-a39f-a9a5f08999e4" providerId="ADAL" clId="{C9348547-B843-49F4-9FA0-D5A2F3060976}" dt="2021-09-13T13:04:54.794" v="1781" actId="120"/>
        <pc:sldMkLst>
          <pc:docMk/>
          <pc:sldMk cId="0" sldId="301"/>
        </pc:sldMkLst>
        <pc:spChg chg="mod">
          <ac:chgData name="Ricardo Sérgio Souza e Sousa" userId="b2322a61-6b0f-42d2-a39f-a9a5f08999e4" providerId="ADAL" clId="{C9348547-B843-49F4-9FA0-D5A2F3060976}" dt="2021-09-13T13:04:54.794" v="1781" actId="120"/>
          <ac:spMkLst>
            <pc:docMk/>
            <pc:sldMk cId="0" sldId="301"/>
            <ac:spMk id="98307" creationId="{190886D2-85AB-4D52-82B9-2237CC960000}"/>
          </ac:spMkLst>
        </pc:spChg>
      </pc:sldChg>
      <pc:sldChg chg="modSp">
        <pc:chgData name="Ricardo Sérgio Souza e Sousa" userId="b2322a61-6b0f-42d2-a39f-a9a5f08999e4" providerId="ADAL" clId="{C9348547-B843-49F4-9FA0-D5A2F3060976}" dt="2021-09-13T13:05:03.985" v="1784" actId="207"/>
        <pc:sldMkLst>
          <pc:docMk/>
          <pc:sldMk cId="0" sldId="302"/>
        </pc:sldMkLst>
        <pc:spChg chg="mod">
          <ac:chgData name="Ricardo Sérgio Souza e Sousa" userId="b2322a61-6b0f-42d2-a39f-a9a5f08999e4" providerId="ADAL" clId="{C9348547-B843-49F4-9FA0-D5A2F3060976}" dt="2021-09-13T13:05:03.985" v="1784" actId="207"/>
          <ac:spMkLst>
            <pc:docMk/>
            <pc:sldMk cId="0" sldId="302"/>
            <ac:spMk id="101379" creationId="{4B0FBCF8-968F-4590-9948-C3C5C8555A0B}"/>
          </ac:spMkLst>
        </pc:spChg>
      </pc:sldChg>
      <pc:sldChg chg="delSp modSp mod delAnim">
        <pc:chgData name="Ricardo Sérgio Souza e Sousa" userId="b2322a61-6b0f-42d2-a39f-a9a5f08999e4" providerId="ADAL" clId="{C9348547-B843-49F4-9FA0-D5A2F3060976}" dt="2021-09-13T12:56:50.963" v="1634" actId="1035"/>
        <pc:sldMkLst>
          <pc:docMk/>
          <pc:sldMk cId="0" sldId="303"/>
        </pc:sldMkLst>
        <pc:spChg chg="mod">
          <ac:chgData name="Ricardo Sérgio Souza e Sousa" userId="b2322a61-6b0f-42d2-a39f-a9a5f08999e4" providerId="ADAL" clId="{C9348547-B843-49F4-9FA0-D5A2F3060976}" dt="2021-09-13T12:56:08.576" v="1628" actId="1036"/>
          <ac:spMkLst>
            <pc:docMk/>
            <pc:sldMk cId="0" sldId="303"/>
            <ac:spMk id="109570" creationId="{8D4443C4-2335-4577-8CCB-1E2C9BDFB5ED}"/>
          </ac:spMkLst>
        </pc:spChg>
        <pc:picChg chg="mod">
          <ac:chgData name="Ricardo Sérgio Souza e Sousa" userId="b2322a61-6b0f-42d2-a39f-a9a5f08999e4" providerId="ADAL" clId="{C9348547-B843-49F4-9FA0-D5A2F3060976}" dt="2021-09-13T12:56:50.963" v="1634" actId="1035"/>
          <ac:picMkLst>
            <pc:docMk/>
            <pc:sldMk cId="0" sldId="303"/>
            <ac:picMk id="2" creationId="{A2E4F20F-2D32-481E-B1D3-77437D49F021}"/>
          </ac:picMkLst>
        </pc:picChg>
        <pc:picChg chg="del">
          <ac:chgData name="Ricardo Sérgio Souza e Sousa" userId="b2322a61-6b0f-42d2-a39f-a9a5f08999e4" providerId="ADAL" clId="{C9348547-B843-49F4-9FA0-D5A2F3060976}" dt="2021-09-13T12:56:24.083" v="1629" actId="478"/>
          <ac:picMkLst>
            <pc:docMk/>
            <pc:sldMk cId="0" sldId="303"/>
            <ac:picMk id="109586" creationId="{1922D1E9-2E53-4DF3-A7C2-2E316D876853}"/>
          </ac:picMkLst>
        </pc:picChg>
      </pc:sldChg>
      <pc:sldChg chg="delSp del mod modClrScheme delAnim chgLayout">
        <pc:chgData name="Ricardo Sérgio Souza e Sousa" userId="b2322a61-6b0f-42d2-a39f-a9a5f08999e4" providerId="ADAL" clId="{C9348547-B843-49F4-9FA0-D5A2F3060976}" dt="2021-09-13T14:19:40.536" v="4641" actId="47"/>
        <pc:sldMkLst>
          <pc:docMk/>
          <pc:sldMk cId="0" sldId="305"/>
        </pc:sldMkLst>
        <pc:picChg chg="del">
          <ac:chgData name="Ricardo Sérgio Souza e Sousa" userId="b2322a61-6b0f-42d2-a39f-a9a5f08999e4" providerId="ADAL" clId="{C9348547-B843-49F4-9FA0-D5A2F3060976}" dt="2021-09-13T12:49:33.455" v="1544" actId="478"/>
          <ac:picMkLst>
            <pc:docMk/>
            <pc:sldMk cId="0" sldId="305"/>
            <ac:picMk id="118791" creationId="{52FE8345-137A-4CD5-BD48-D89F4B8828D5}"/>
          </ac:picMkLst>
        </pc:picChg>
      </pc:sldChg>
      <pc:sldChg chg="modSp">
        <pc:chgData name="Ricardo Sérgio Souza e Sousa" userId="b2322a61-6b0f-42d2-a39f-a9a5f08999e4" providerId="ADAL" clId="{C9348547-B843-49F4-9FA0-D5A2F3060976}" dt="2021-09-13T12:55:20.156" v="1589" actId="14100"/>
        <pc:sldMkLst>
          <pc:docMk/>
          <pc:sldMk cId="0" sldId="307"/>
        </pc:sldMkLst>
        <pc:spChg chg="mod">
          <ac:chgData name="Ricardo Sérgio Souza e Sousa" userId="b2322a61-6b0f-42d2-a39f-a9a5f08999e4" providerId="ADAL" clId="{C9348547-B843-49F4-9FA0-D5A2F3060976}" dt="2021-09-13T12:55:08.393" v="1586" actId="14100"/>
          <ac:spMkLst>
            <pc:docMk/>
            <pc:sldMk cId="0" sldId="307"/>
            <ac:spMk id="122883" creationId="{00D0AC15-4E73-4AF4-B780-A32A912D39E3}"/>
          </ac:spMkLst>
        </pc:spChg>
        <pc:spChg chg="mod">
          <ac:chgData name="Ricardo Sérgio Souza e Sousa" userId="b2322a61-6b0f-42d2-a39f-a9a5f08999e4" providerId="ADAL" clId="{C9348547-B843-49F4-9FA0-D5A2F3060976}" dt="2021-09-13T12:55:20.156" v="1589" actId="14100"/>
          <ac:spMkLst>
            <pc:docMk/>
            <pc:sldMk cId="0" sldId="307"/>
            <ac:spMk id="123907" creationId="{1886535C-D611-4653-A294-906471844519}"/>
          </ac:spMkLst>
        </pc:spChg>
      </pc:sldChg>
      <pc:sldChg chg="modSp">
        <pc:chgData name="Ricardo Sérgio Souza e Sousa" userId="b2322a61-6b0f-42d2-a39f-a9a5f08999e4" providerId="ADAL" clId="{C9348547-B843-49F4-9FA0-D5A2F3060976}" dt="2021-09-13T13:08:06.226" v="2045" actId="120"/>
        <pc:sldMkLst>
          <pc:docMk/>
          <pc:sldMk cId="0" sldId="308"/>
        </pc:sldMkLst>
        <pc:spChg chg="mod">
          <ac:chgData name="Ricardo Sérgio Souza e Sousa" userId="b2322a61-6b0f-42d2-a39f-a9a5f08999e4" providerId="ADAL" clId="{C9348547-B843-49F4-9FA0-D5A2F3060976}" dt="2021-09-13T13:08:06.226" v="2045" actId="120"/>
          <ac:spMkLst>
            <pc:docMk/>
            <pc:sldMk cId="0" sldId="308"/>
            <ac:spMk id="123907" creationId="{CDC10F91-843F-4C81-AAD3-9F4AA6D5AABB}"/>
          </ac:spMkLst>
        </pc:spChg>
      </pc:sldChg>
      <pc:sldChg chg="modSp">
        <pc:chgData name="Ricardo Sérgio Souza e Sousa" userId="b2322a61-6b0f-42d2-a39f-a9a5f08999e4" providerId="ADAL" clId="{C9348547-B843-49F4-9FA0-D5A2F3060976}" dt="2021-09-13T13:05:13.117" v="1787" actId="120"/>
        <pc:sldMkLst>
          <pc:docMk/>
          <pc:sldMk cId="0" sldId="309"/>
        </pc:sldMkLst>
        <pc:spChg chg="mod">
          <ac:chgData name="Ricardo Sérgio Souza e Sousa" userId="b2322a61-6b0f-42d2-a39f-a9a5f08999e4" providerId="ADAL" clId="{C9348547-B843-49F4-9FA0-D5A2F3060976}" dt="2021-09-13T13:05:13.117" v="1787" actId="120"/>
          <ac:spMkLst>
            <pc:docMk/>
            <pc:sldMk cId="0" sldId="309"/>
            <ac:spMk id="125954" creationId="{C0B11EFB-08F5-445D-B030-A740ACD9AEF0}"/>
          </ac:spMkLst>
        </pc:spChg>
      </pc:sldChg>
      <pc:sldChg chg="modSp">
        <pc:chgData name="Ricardo Sérgio Souza e Sousa" userId="b2322a61-6b0f-42d2-a39f-a9a5f08999e4" providerId="ADAL" clId="{C9348547-B843-49F4-9FA0-D5A2F3060976}" dt="2021-09-13T12:57:25.469" v="1640" actId="1076"/>
        <pc:sldMkLst>
          <pc:docMk/>
          <pc:sldMk cId="0" sldId="310"/>
        </pc:sldMkLst>
        <pc:spChg chg="mod">
          <ac:chgData name="Ricardo Sérgio Souza e Sousa" userId="b2322a61-6b0f-42d2-a39f-a9a5f08999e4" providerId="ADAL" clId="{C9348547-B843-49F4-9FA0-D5A2F3060976}" dt="2021-09-13T12:57:12.677" v="1637" actId="120"/>
          <ac:spMkLst>
            <pc:docMk/>
            <pc:sldMk cId="0" sldId="310"/>
            <ac:spMk id="128002" creationId="{C86332D8-2AEF-4B2E-A158-25E69ADDF813}"/>
          </ac:spMkLst>
        </pc:spChg>
        <pc:picChg chg="mod">
          <ac:chgData name="Ricardo Sérgio Souza e Sousa" userId="b2322a61-6b0f-42d2-a39f-a9a5f08999e4" providerId="ADAL" clId="{C9348547-B843-49F4-9FA0-D5A2F3060976}" dt="2021-09-13T12:57:25.469" v="1640" actId="1076"/>
          <ac:picMkLst>
            <pc:docMk/>
            <pc:sldMk cId="0" sldId="310"/>
            <ac:picMk id="128004" creationId="{F0A96FE2-FCE5-448B-BC51-DAD04E8094EB}"/>
          </ac:picMkLst>
        </pc:picChg>
      </pc:sldChg>
      <pc:sldChg chg="modSp">
        <pc:chgData name="Ricardo Sérgio Souza e Sousa" userId="b2322a61-6b0f-42d2-a39f-a9a5f08999e4" providerId="ADAL" clId="{C9348547-B843-49F4-9FA0-D5A2F3060976}" dt="2021-09-13T12:54:35.377" v="1579" actId="14100"/>
        <pc:sldMkLst>
          <pc:docMk/>
          <pc:sldMk cId="0" sldId="311"/>
        </pc:sldMkLst>
        <pc:spChg chg="mod">
          <ac:chgData name="Ricardo Sérgio Souza e Sousa" userId="b2322a61-6b0f-42d2-a39f-a9a5f08999e4" providerId="ADAL" clId="{C9348547-B843-49F4-9FA0-D5A2F3060976}" dt="2021-09-13T12:54:35.377" v="1579" actId="14100"/>
          <ac:spMkLst>
            <pc:docMk/>
            <pc:sldMk cId="0" sldId="311"/>
            <ac:spMk id="123907" creationId="{BABEDD6A-6E75-4D98-A05A-A2D7107A974B}"/>
          </ac:spMkLst>
        </pc:spChg>
        <pc:spChg chg="mod">
          <ac:chgData name="Ricardo Sérgio Souza e Sousa" userId="b2322a61-6b0f-42d2-a39f-a9a5f08999e4" providerId="ADAL" clId="{C9348547-B843-49F4-9FA0-D5A2F3060976}" dt="2021-09-13T12:54:30.014" v="1578" actId="14100"/>
          <ac:spMkLst>
            <pc:docMk/>
            <pc:sldMk cId="0" sldId="311"/>
            <ac:spMk id="130051" creationId="{8017DEB4-75DE-44B8-B99D-04B3FB0103E7}"/>
          </ac:spMkLst>
        </pc:spChg>
      </pc:sldChg>
      <pc:sldChg chg="modSp">
        <pc:chgData name="Ricardo Sérgio Souza e Sousa" userId="b2322a61-6b0f-42d2-a39f-a9a5f08999e4" providerId="ADAL" clId="{C9348547-B843-49F4-9FA0-D5A2F3060976}" dt="2021-09-13T12:54:57.634" v="1583" actId="14100"/>
        <pc:sldMkLst>
          <pc:docMk/>
          <pc:sldMk cId="0" sldId="312"/>
        </pc:sldMkLst>
        <pc:spChg chg="mod">
          <ac:chgData name="Ricardo Sérgio Souza e Sousa" userId="b2322a61-6b0f-42d2-a39f-a9a5f08999e4" providerId="ADAL" clId="{C9348547-B843-49F4-9FA0-D5A2F3060976}" dt="2021-09-13T12:54:16.906" v="1575" actId="207"/>
          <ac:spMkLst>
            <pc:docMk/>
            <pc:sldMk cId="0" sldId="312"/>
            <ac:spMk id="16386" creationId="{D6F2898C-9F9A-488E-975B-D10C636D277D}"/>
          </ac:spMkLst>
        </pc:spChg>
        <pc:spChg chg="mod">
          <ac:chgData name="Ricardo Sérgio Souza e Sousa" userId="b2322a61-6b0f-42d2-a39f-a9a5f08999e4" providerId="ADAL" clId="{C9348547-B843-49F4-9FA0-D5A2F3060976}" dt="2021-09-13T12:54:57.634" v="1583" actId="14100"/>
          <ac:spMkLst>
            <pc:docMk/>
            <pc:sldMk cId="0" sldId="312"/>
            <ac:spMk id="123907" creationId="{7F9B273F-4779-47F3-8C75-BC1E5457F0A1}"/>
          </ac:spMkLst>
        </pc:spChg>
      </pc:sldChg>
      <pc:sldChg chg="modSp">
        <pc:chgData name="Ricardo Sérgio Souza e Sousa" userId="b2322a61-6b0f-42d2-a39f-a9a5f08999e4" providerId="ADAL" clId="{C9348547-B843-49F4-9FA0-D5A2F3060976}" dt="2021-09-13T13:05:23.661" v="1790" actId="120"/>
        <pc:sldMkLst>
          <pc:docMk/>
          <pc:sldMk cId="0" sldId="313"/>
        </pc:sldMkLst>
        <pc:spChg chg="mod">
          <ac:chgData name="Ricardo Sérgio Souza e Sousa" userId="b2322a61-6b0f-42d2-a39f-a9a5f08999e4" providerId="ADAL" clId="{C9348547-B843-49F4-9FA0-D5A2F3060976}" dt="2021-09-13T13:05:23.661" v="1790" actId="120"/>
          <ac:spMkLst>
            <pc:docMk/>
            <pc:sldMk cId="0" sldId="313"/>
            <ac:spMk id="132099" creationId="{B20253F6-4109-47F7-8BB9-BC9E326D621B}"/>
          </ac:spMkLst>
        </pc:spChg>
      </pc:sldChg>
      <pc:sldChg chg="modSp">
        <pc:chgData name="Ricardo Sérgio Souza e Sousa" userId="b2322a61-6b0f-42d2-a39f-a9a5f08999e4" providerId="ADAL" clId="{C9348547-B843-49F4-9FA0-D5A2F3060976}" dt="2021-09-13T13:05:34.015" v="1793" actId="207"/>
        <pc:sldMkLst>
          <pc:docMk/>
          <pc:sldMk cId="0" sldId="314"/>
        </pc:sldMkLst>
        <pc:spChg chg="mod">
          <ac:chgData name="Ricardo Sérgio Souza e Sousa" userId="b2322a61-6b0f-42d2-a39f-a9a5f08999e4" providerId="ADAL" clId="{C9348547-B843-49F4-9FA0-D5A2F3060976}" dt="2021-09-13T13:05:34.015" v="1793" actId="207"/>
          <ac:spMkLst>
            <pc:docMk/>
            <pc:sldMk cId="0" sldId="314"/>
            <ac:spMk id="134147" creationId="{6F77A9A3-DF3E-464E-BBCF-6568958DE30D}"/>
          </ac:spMkLst>
        </pc:spChg>
      </pc:sldChg>
      <pc:sldChg chg="modSp">
        <pc:chgData name="Ricardo Sérgio Souza e Sousa" userId="b2322a61-6b0f-42d2-a39f-a9a5f08999e4" providerId="ADAL" clId="{C9348547-B843-49F4-9FA0-D5A2F3060976}" dt="2021-09-13T12:53:15.744" v="1569" actId="120"/>
        <pc:sldMkLst>
          <pc:docMk/>
          <pc:sldMk cId="0" sldId="315"/>
        </pc:sldMkLst>
        <pc:spChg chg="mod">
          <ac:chgData name="Ricardo Sérgio Souza e Sousa" userId="b2322a61-6b0f-42d2-a39f-a9a5f08999e4" providerId="ADAL" clId="{C9348547-B843-49F4-9FA0-D5A2F3060976}" dt="2021-09-13T12:53:15.744" v="1569" actId="120"/>
          <ac:spMkLst>
            <pc:docMk/>
            <pc:sldMk cId="0" sldId="315"/>
            <ac:spMk id="136198" creationId="{049163CC-B802-4880-B898-14307700C522}"/>
          </ac:spMkLst>
        </pc:spChg>
      </pc:sldChg>
      <pc:sldChg chg="modSp">
        <pc:chgData name="Ricardo Sérgio Souza e Sousa" userId="b2322a61-6b0f-42d2-a39f-a9a5f08999e4" providerId="ADAL" clId="{C9348547-B843-49F4-9FA0-D5A2F3060976}" dt="2021-09-13T12:52:51.241" v="1561" actId="120"/>
        <pc:sldMkLst>
          <pc:docMk/>
          <pc:sldMk cId="0" sldId="316"/>
        </pc:sldMkLst>
        <pc:spChg chg="mod">
          <ac:chgData name="Ricardo Sérgio Souza e Sousa" userId="b2322a61-6b0f-42d2-a39f-a9a5f08999e4" providerId="ADAL" clId="{C9348547-B843-49F4-9FA0-D5A2F3060976}" dt="2021-09-13T12:52:51.241" v="1561" actId="120"/>
          <ac:spMkLst>
            <pc:docMk/>
            <pc:sldMk cId="0" sldId="316"/>
            <ac:spMk id="138243" creationId="{E6DF1A80-C9B8-4367-A71A-C3B7BEBFC318}"/>
          </ac:spMkLst>
        </pc:spChg>
      </pc:sldChg>
      <pc:sldChg chg="modSp">
        <pc:chgData name="Ricardo Sérgio Souza e Sousa" userId="b2322a61-6b0f-42d2-a39f-a9a5f08999e4" providerId="ADAL" clId="{C9348547-B843-49F4-9FA0-D5A2F3060976}" dt="2021-09-13T12:59:49.203" v="1643" actId="120"/>
        <pc:sldMkLst>
          <pc:docMk/>
          <pc:sldMk cId="0" sldId="318"/>
        </pc:sldMkLst>
        <pc:spChg chg="mod">
          <ac:chgData name="Ricardo Sérgio Souza e Sousa" userId="b2322a61-6b0f-42d2-a39f-a9a5f08999e4" providerId="ADAL" clId="{C9348547-B843-49F4-9FA0-D5A2F3060976}" dt="2021-09-13T12:59:49.203" v="1643" actId="120"/>
          <ac:spMkLst>
            <pc:docMk/>
            <pc:sldMk cId="0" sldId="318"/>
            <ac:spMk id="142339" creationId="{61220774-A208-4A58-95E9-16FA36CAF4B6}"/>
          </ac:spMkLst>
        </pc:spChg>
      </pc:sldChg>
      <pc:sldChg chg="addSp delSp modSp mod delAnim modAnim">
        <pc:chgData name="Ricardo Sérgio Souza e Sousa" userId="b2322a61-6b0f-42d2-a39f-a9a5f08999e4" providerId="ADAL" clId="{C9348547-B843-49F4-9FA0-D5A2F3060976}" dt="2021-09-13T12:51:59.368" v="1549" actId="1076"/>
        <pc:sldMkLst>
          <pc:docMk/>
          <pc:sldMk cId="0" sldId="319"/>
        </pc:sldMkLst>
        <pc:picChg chg="add del mod">
          <ac:chgData name="Ricardo Sérgio Souza e Sousa" userId="b2322a61-6b0f-42d2-a39f-a9a5f08999e4" providerId="ADAL" clId="{C9348547-B843-49F4-9FA0-D5A2F3060976}" dt="2021-09-13T12:51:42.270" v="1546" actId="478"/>
          <ac:picMkLst>
            <pc:docMk/>
            <pc:sldMk cId="0" sldId="319"/>
            <ac:picMk id="2" creationId="{333B1943-02CB-4DCC-9B88-10384818691A}"/>
          </ac:picMkLst>
        </pc:picChg>
        <pc:picChg chg="add mod">
          <ac:chgData name="Ricardo Sérgio Souza e Sousa" userId="b2322a61-6b0f-42d2-a39f-a9a5f08999e4" providerId="ADAL" clId="{C9348547-B843-49F4-9FA0-D5A2F3060976}" dt="2021-09-13T12:51:59.368" v="1549" actId="1076"/>
          <ac:picMkLst>
            <pc:docMk/>
            <pc:sldMk cId="0" sldId="319"/>
            <ac:picMk id="3" creationId="{270AFCF5-0A2B-48ED-A6D9-DC8F53B8F2B3}"/>
          </ac:picMkLst>
        </pc:picChg>
      </pc:sldChg>
      <pc:sldChg chg="modSp">
        <pc:chgData name="Ricardo Sérgio Souza e Sousa" userId="b2322a61-6b0f-42d2-a39f-a9a5f08999e4" providerId="ADAL" clId="{C9348547-B843-49F4-9FA0-D5A2F3060976}" dt="2021-09-13T13:01:11.128" v="1753" actId="14100"/>
        <pc:sldMkLst>
          <pc:docMk/>
          <pc:sldMk cId="0" sldId="321"/>
        </pc:sldMkLst>
        <pc:spChg chg="mod">
          <ac:chgData name="Ricardo Sérgio Souza e Sousa" userId="b2322a61-6b0f-42d2-a39f-a9a5f08999e4" providerId="ADAL" clId="{C9348547-B843-49F4-9FA0-D5A2F3060976}" dt="2021-09-13T13:01:11.128" v="1753" actId="14100"/>
          <ac:spMkLst>
            <pc:docMk/>
            <pc:sldMk cId="0" sldId="321"/>
            <ac:spMk id="25602" creationId="{DAE70435-F09E-434F-82BC-86FEDA9C4BFE}"/>
          </ac:spMkLst>
        </pc:spChg>
        <pc:spChg chg="mod">
          <ac:chgData name="Ricardo Sérgio Souza e Sousa" userId="b2322a61-6b0f-42d2-a39f-a9a5f08999e4" providerId="ADAL" clId="{C9348547-B843-49F4-9FA0-D5A2F3060976}" dt="2021-09-13T13:00:34.525" v="1657" actId="207"/>
          <ac:spMkLst>
            <pc:docMk/>
            <pc:sldMk cId="0" sldId="321"/>
            <ac:spMk id="152579" creationId="{0A31D8EE-9773-4B62-9D86-35C851FB7707}"/>
          </ac:spMkLst>
        </pc:spChg>
        <pc:picChg chg="mod">
          <ac:chgData name="Ricardo Sérgio Souza e Sousa" userId="b2322a61-6b0f-42d2-a39f-a9a5f08999e4" providerId="ADAL" clId="{C9348547-B843-49F4-9FA0-D5A2F3060976}" dt="2021-09-13T13:00:43.037" v="1666" actId="1035"/>
          <ac:picMkLst>
            <pc:docMk/>
            <pc:sldMk cId="0" sldId="321"/>
            <ac:picMk id="152580" creationId="{43EBD418-D6B0-40F2-BFF3-893D4CFD1357}"/>
          </ac:picMkLst>
        </pc:picChg>
        <pc:picChg chg="mod">
          <ac:chgData name="Ricardo Sérgio Souza e Sousa" userId="b2322a61-6b0f-42d2-a39f-a9a5f08999e4" providerId="ADAL" clId="{C9348547-B843-49F4-9FA0-D5A2F3060976}" dt="2021-09-13T13:00:43.037" v="1666" actId="1035"/>
          <ac:picMkLst>
            <pc:docMk/>
            <pc:sldMk cId="0" sldId="321"/>
            <ac:picMk id="152581" creationId="{216A7B7D-6C34-446D-A4DE-7FC6FD18C649}"/>
          </ac:picMkLst>
        </pc:picChg>
        <pc:picChg chg="mod">
          <ac:chgData name="Ricardo Sérgio Souza e Sousa" userId="b2322a61-6b0f-42d2-a39f-a9a5f08999e4" providerId="ADAL" clId="{C9348547-B843-49F4-9FA0-D5A2F3060976}" dt="2021-09-13T13:00:43.037" v="1666" actId="1035"/>
          <ac:picMkLst>
            <pc:docMk/>
            <pc:sldMk cId="0" sldId="321"/>
            <ac:picMk id="152582" creationId="{F1F9BCC6-BA1B-4EE8-9D5A-38D003954E58}"/>
          </ac:picMkLst>
        </pc:picChg>
        <pc:picChg chg="mod">
          <ac:chgData name="Ricardo Sérgio Souza e Sousa" userId="b2322a61-6b0f-42d2-a39f-a9a5f08999e4" providerId="ADAL" clId="{C9348547-B843-49F4-9FA0-D5A2F3060976}" dt="2021-09-13T13:00:43.037" v="1666" actId="1035"/>
          <ac:picMkLst>
            <pc:docMk/>
            <pc:sldMk cId="0" sldId="321"/>
            <ac:picMk id="152583" creationId="{519FA81C-6AA7-445B-B53B-99D7DBB78B5B}"/>
          </ac:picMkLst>
        </pc:picChg>
        <pc:picChg chg="mod">
          <ac:chgData name="Ricardo Sérgio Souza e Sousa" userId="b2322a61-6b0f-42d2-a39f-a9a5f08999e4" providerId="ADAL" clId="{C9348547-B843-49F4-9FA0-D5A2F3060976}" dt="2021-09-13T13:01:01.413" v="1751" actId="1036"/>
          <ac:picMkLst>
            <pc:docMk/>
            <pc:sldMk cId="0" sldId="321"/>
            <ac:picMk id="152584" creationId="{5D52E2ED-4847-4800-88C0-B1661DE873A3}"/>
          </ac:picMkLst>
        </pc:picChg>
        <pc:picChg chg="mod">
          <ac:chgData name="Ricardo Sérgio Souza e Sousa" userId="b2322a61-6b0f-42d2-a39f-a9a5f08999e4" providerId="ADAL" clId="{C9348547-B843-49F4-9FA0-D5A2F3060976}" dt="2021-09-13T13:01:01.413" v="1751" actId="1036"/>
          <ac:picMkLst>
            <pc:docMk/>
            <pc:sldMk cId="0" sldId="321"/>
            <ac:picMk id="152585" creationId="{19B5534D-2506-4B9D-80D1-5F696ADFE255}"/>
          </ac:picMkLst>
        </pc:picChg>
        <pc:picChg chg="mod">
          <ac:chgData name="Ricardo Sérgio Souza e Sousa" userId="b2322a61-6b0f-42d2-a39f-a9a5f08999e4" providerId="ADAL" clId="{C9348547-B843-49F4-9FA0-D5A2F3060976}" dt="2021-09-13T13:01:01.413" v="1751" actId="1036"/>
          <ac:picMkLst>
            <pc:docMk/>
            <pc:sldMk cId="0" sldId="321"/>
            <ac:picMk id="152586" creationId="{9DB93AB9-4274-4259-A19D-6AF12B74B777}"/>
          </ac:picMkLst>
        </pc:picChg>
        <pc:picChg chg="mod">
          <ac:chgData name="Ricardo Sérgio Souza e Sousa" userId="b2322a61-6b0f-42d2-a39f-a9a5f08999e4" providerId="ADAL" clId="{C9348547-B843-49F4-9FA0-D5A2F3060976}" dt="2021-09-13T13:01:01.413" v="1751" actId="1036"/>
          <ac:picMkLst>
            <pc:docMk/>
            <pc:sldMk cId="0" sldId="321"/>
            <ac:picMk id="152587" creationId="{17C0E3E3-2972-46FD-9281-E627A384104C}"/>
          </ac:picMkLst>
        </pc:picChg>
        <pc:picChg chg="mod">
          <ac:chgData name="Ricardo Sérgio Souza e Sousa" userId="b2322a61-6b0f-42d2-a39f-a9a5f08999e4" providerId="ADAL" clId="{C9348547-B843-49F4-9FA0-D5A2F3060976}" dt="2021-09-13T13:00:43.037" v="1666" actId="1035"/>
          <ac:picMkLst>
            <pc:docMk/>
            <pc:sldMk cId="0" sldId="321"/>
            <ac:picMk id="152588" creationId="{8C157D07-CB7C-4A51-9CB6-D36A17F74B84}"/>
          </ac:picMkLst>
        </pc:picChg>
        <pc:picChg chg="mod">
          <ac:chgData name="Ricardo Sérgio Souza e Sousa" userId="b2322a61-6b0f-42d2-a39f-a9a5f08999e4" providerId="ADAL" clId="{C9348547-B843-49F4-9FA0-D5A2F3060976}" dt="2021-09-13T13:01:01.413" v="1751" actId="1036"/>
          <ac:picMkLst>
            <pc:docMk/>
            <pc:sldMk cId="0" sldId="321"/>
            <ac:picMk id="152589" creationId="{9CC28252-E11D-4F59-8004-9152DDF304EE}"/>
          </ac:picMkLst>
        </pc:picChg>
      </pc:sldChg>
      <pc:sldChg chg="addSp delSp modSp mod modAnim">
        <pc:chgData name="Ricardo Sérgio Souza e Sousa" userId="b2322a61-6b0f-42d2-a39f-a9a5f08999e4" providerId="ADAL" clId="{C9348547-B843-49F4-9FA0-D5A2F3060976}" dt="2021-09-13T13:04:20.346" v="1778" actId="1076"/>
        <pc:sldMkLst>
          <pc:docMk/>
          <pc:sldMk cId="0" sldId="323"/>
        </pc:sldMkLst>
        <pc:spChg chg="mod">
          <ac:chgData name="Ricardo Sérgio Souza e Sousa" userId="b2322a61-6b0f-42d2-a39f-a9a5f08999e4" providerId="ADAL" clId="{C9348547-B843-49F4-9FA0-D5A2F3060976}" dt="2021-09-13T13:03:22.932" v="1765" actId="1036"/>
          <ac:spMkLst>
            <pc:docMk/>
            <pc:sldMk cId="0" sldId="323"/>
            <ac:spMk id="156675" creationId="{8CD55074-A5F5-4E70-94DB-162E63860CA7}"/>
          </ac:spMkLst>
        </pc:spChg>
        <pc:picChg chg="add mod">
          <ac:chgData name="Ricardo Sérgio Souza e Sousa" userId="b2322a61-6b0f-42d2-a39f-a9a5f08999e4" providerId="ADAL" clId="{C9348547-B843-49F4-9FA0-D5A2F3060976}" dt="2021-09-13T13:04:20.346" v="1778" actId="1076"/>
          <ac:picMkLst>
            <pc:docMk/>
            <pc:sldMk cId="0" sldId="323"/>
            <ac:picMk id="2" creationId="{31333D84-5454-4885-8B11-E3037D7DCBE5}"/>
          </ac:picMkLst>
        </pc:picChg>
        <pc:picChg chg="add mod">
          <ac:chgData name="Ricardo Sérgio Souza e Sousa" userId="b2322a61-6b0f-42d2-a39f-a9a5f08999e4" providerId="ADAL" clId="{C9348547-B843-49F4-9FA0-D5A2F3060976}" dt="2021-09-13T13:04:13.553" v="1775" actId="1076"/>
          <ac:picMkLst>
            <pc:docMk/>
            <pc:sldMk cId="0" sldId="323"/>
            <ac:picMk id="3" creationId="{EAF4E104-68DA-4DB3-B795-52DCAFE2B974}"/>
          </ac:picMkLst>
        </pc:picChg>
        <pc:picChg chg="del">
          <ac:chgData name="Ricardo Sérgio Souza e Sousa" userId="b2322a61-6b0f-42d2-a39f-a9a5f08999e4" providerId="ADAL" clId="{C9348547-B843-49F4-9FA0-D5A2F3060976}" dt="2021-09-13T13:02:58.798" v="1754" actId="478"/>
          <ac:picMkLst>
            <pc:docMk/>
            <pc:sldMk cId="0" sldId="323"/>
            <ac:picMk id="156686" creationId="{02F34E8B-A5E4-416B-9EB2-A74D92FBEE3B}"/>
          </ac:picMkLst>
        </pc:picChg>
        <pc:picChg chg="del">
          <ac:chgData name="Ricardo Sérgio Souza e Sousa" userId="b2322a61-6b0f-42d2-a39f-a9a5f08999e4" providerId="ADAL" clId="{C9348547-B843-49F4-9FA0-D5A2F3060976}" dt="2021-09-13T13:03:14.142" v="1755" actId="478"/>
          <ac:picMkLst>
            <pc:docMk/>
            <pc:sldMk cId="0" sldId="323"/>
            <ac:picMk id="156687" creationId="{09DEBA0A-20F9-47BD-B32C-2914DFB0D118}"/>
          </ac:picMkLst>
        </pc:picChg>
      </pc:sldChg>
      <pc:sldChg chg="modSp">
        <pc:chgData name="Ricardo Sérgio Souza e Sousa" userId="b2322a61-6b0f-42d2-a39f-a9a5f08999e4" providerId="ADAL" clId="{C9348547-B843-49F4-9FA0-D5A2F3060976}" dt="2021-09-13T12:59:58.108" v="1646" actId="120"/>
        <pc:sldMkLst>
          <pc:docMk/>
          <pc:sldMk cId="0" sldId="324"/>
        </pc:sldMkLst>
        <pc:spChg chg="mod">
          <ac:chgData name="Ricardo Sérgio Souza e Sousa" userId="b2322a61-6b0f-42d2-a39f-a9a5f08999e4" providerId="ADAL" clId="{C9348547-B843-49F4-9FA0-D5A2F3060976}" dt="2021-09-13T12:59:58.108" v="1646" actId="120"/>
          <ac:spMkLst>
            <pc:docMk/>
            <pc:sldMk cId="0" sldId="324"/>
            <ac:spMk id="158722" creationId="{C8508118-0768-42F2-8390-E556F0218F9F}"/>
          </ac:spMkLst>
        </pc:spChg>
      </pc:sldChg>
      <pc:sldChg chg="modSp del mod">
        <pc:chgData name="Ricardo Sérgio Souza e Sousa" userId="b2322a61-6b0f-42d2-a39f-a9a5f08999e4" providerId="ADAL" clId="{C9348547-B843-49F4-9FA0-D5A2F3060976}" dt="2021-09-13T13:10:01.269" v="2076" actId="47"/>
        <pc:sldMkLst>
          <pc:docMk/>
          <pc:sldMk cId="0" sldId="325"/>
        </pc:sldMkLst>
        <pc:spChg chg="mod">
          <ac:chgData name="Ricardo Sérgio Souza e Sousa" userId="b2322a61-6b0f-42d2-a39f-a9a5f08999e4" providerId="ADAL" clId="{C9348547-B843-49F4-9FA0-D5A2F3060976}" dt="2021-09-13T13:09:51.738" v="2075" actId="14100"/>
          <ac:spMkLst>
            <pc:docMk/>
            <pc:sldMk cId="0" sldId="325"/>
            <ac:spMk id="83971" creationId="{9BD448D8-68C7-4132-95C2-C5ED1AB249E1}"/>
          </ac:spMkLst>
        </pc:spChg>
        <pc:spChg chg="mod">
          <ac:chgData name="Ricardo Sérgio Souza e Sousa" userId="b2322a61-6b0f-42d2-a39f-a9a5f08999e4" providerId="ADAL" clId="{C9348547-B843-49F4-9FA0-D5A2F3060976}" dt="2021-09-13T13:08:55.578" v="2055" actId="1076"/>
          <ac:spMkLst>
            <pc:docMk/>
            <pc:sldMk cId="0" sldId="325"/>
            <ac:spMk id="83974" creationId="{12A69A2F-F7C3-462D-A0CB-68ABA48B1C28}"/>
          </ac:spMkLst>
        </pc:spChg>
      </pc:sldChg>
      <pc:sldChg chg="modSp add del mod">
        <pc:chgData name="Ricardo Sérgio Souza e Sousa" userId="b2322a61-6b0f-42d2-a39f-a9a5f08999e4" providerId="ADAL" clId="{C9348547-B843-49F4-9FA0-D5A2F3060976}" dt="2021-09-13T13:10:08.182" v="2079" actId="47"/>
        <pc:sldMkLst>
          <pc:docMk/>
          <pc:sldMk cId="0" sldId="327"/>
        </pc:sldMkLst>
        <pc:spChg chg="mod">
          <ac:chgData name="Ricardo Sérgio Souza e Sousa" userId="b2322a61-6b0f-42d2-a39f-a9a5f08999e4" providerId="ADAL" clId="{C9348547-B843-49F4-9FA0-D5A2F3060976}" dt="2021-09-13T13:09:40.904" v="2073" actId="14100"/>
          <ac:spMkLst>
            <pc:docMk/>
            <pc:sldMk cId="0" sldId="327"/>
            <ac:spMk id="83971" creationId="{F73518D1-4D7B-4452-B29E-89015E8BCE99}"/>
          </ac:spMkLst>
        </pc:spChg>
        <pc:spChg chg="mod">
          <ac:chgData name="Ricardo Sérgio Souza e Sousa" userId="b2322a61-6b0f-42d2-a39f-a9a5f08999e4" providerId="ADAL" clId="{C9348547-B843-49F4-9FA0-D5A2F3060976}" dt="2021-09-13T13:09:27.905" v="2070" actId="14100"/>
          <ac:spMkLst>
            <pc:docMk/>
            <pc:sldMk cId="0" sldId="327"/>
            <ac:spMk id="83974" creationId="{744409C7-2AD4-45B5-8F9D-FC2A826B7810}"/>
          </ac:spMkLst>
        </pc:spChg>
      </pc:sldChg>
      <pc:sldChg chg="modSp mod">
        <pc:chgData name="Ricardo Sérgio Souza e Sousa" userId="b2322a61-6b0f-42d2-a39f-a9a5f08999e4" providerId="ADAL" clId="{C9348547-B843-49F4-9FA0-D5A2F3060976}" dt="2021-09-13T14:24:05.092" v="4890" actId="121"/>
        <pc:sldMkLst>
          <pc:docMk/>
          <pc:sldMk cId="3304532676" sldId="472"/>
        </pc:sldMkLst>
        <pc:spChg chg="mod">
          <ac:chgData name="Ricardo Sérgio Souza e Sousa" userId="b2322a61-6b0f-42d2-a39f-a9a5f08999e4" providerId="ADAL" clId="{C9348547-B843-49F4-9FA0-D5A2F3060976}" dt="2021-09-13T14:24:05.092" v="4890" actId="121"/>
          <ac:spMkLst>
            <pc:docMk/>
            <pc:sldMk cId="3304532676" sldId="472"/>
            <ac:spMk id="2" creationId="{00000000-0000-0000-0000-000000000000}"/>
          </ac:spMkLst>
        </pc:spChg>
      </pc:sldChg>
      <pc:sldChg chg="delSp modSp del mod modClrScheme chgLayout">
        <pc:chgData name="Ricardo Sérgio Souza e Sousa" userId="b2322a61-6b0f-42d2-a39f-a9a5f08999e4" providerId="ADAL" clId="{C9348547-B843-49F4-9FA0-D5A2F3060976}" dt="2021-09-13T14:26:26.344" v="4982" actId="47"/>
        <pc:sldMkLst>
          <pc:docMk/>
          <pc:sldMk cId="618154496" sldId="485"/>
        </pc:sldMkLst>
        <pc:spChg chg="del mod ord">
          <ac:chgData name="Ricardo Sérgio Souza e Sousa" userId="b2322a61-6b0f-42d2-a39f-a9a5f08999e4" providerId="ADAL" clId="{C9348547-B843-49F4-9FA0-D5A2F3060976}" dt="2021-09-13T14:24:41.813" v="4892" actId="478"/>
          <ac:spMkLst>
            <pc:docMk/>
            <pc:sldMk cId="618154496" sldId="485"/>
            <ac:spMk id="2" creationId="{6066EF5D-ADF8-4CAB-A6CF-121E34B918DD}"/>
          </ac:spMkLst>
        </pc:spChg>
      </pc:sldChg>
      <pc:sldChg chg="modSp del mod chgLayout">
        <pc:chgData name="Ricardo Sérgio Souza e Sousa" userId="b2322a61-6b0f-42d2-a39f-a9a5f08999e4" providerId="ADAL" clId="{C9348547-B843-49F4-9FA0-D5A2F3060976}" dt="2021-09-13T14:19:40.807" v="4642" actId="47"/>
        <pc:sldMkLst>
          <pc:docMk/>
          <pc:sldMk cId="2087677376" sldId="487"/>
        </pc:sldMkLst>
        <pc:spChg chg="mod ord">
          <ac:chgData name="Ricardo Sérgio Souza e Sousa" userId="b2322a61-6b0f-42d2-a39f-a9a5f08999e4" providerId="ADAL" clId="{C9348547-B843-49F4-9FA0-D5A2F3060976}" dt="2021-09-13T13:16:39.387" v="2084"/>
          <ac:spMkLst>
            <pc:docMk/>
            <pc:sldMk cId="2087677376" sldId="487"/>
            <ac:spMk id="11" creationId="{32D3A7EF-E0A0-4771-8BC2-3BD316DA8D01}"/>
          </ac:spMkLst>
        </pc:spChg>
      </pc:sldChg>
      <pc:sldChg chg="modSp del mod chgLayout">
        <pc:chgData name="Ricardo Sérgio Souza e Sousa" userId="b2322a61-6b0f-42d2-a39f-a9a5f08999e4" providerId="ADAL" clId="{C9348547-B843-49F4-9FA0-D5A2F3060976}" dt="2021-09-13T14:19:41.107" v="4643" actId="47"/>
        <pc:sldMkLst>
          <pc:docMk/>
          <pc:sldMk cId="2511760066" sldId="488"/>
        </pc:sldMkLst>
        <pc:spChg chg="mod ord">
          <ac:chgData name="Ricardo Sérgio Souza e Sousa" userId="b2322a61-6b0f-42d2-a39f-a9a5f08999e4" providerId="ADAL" clId="{C9348547-B843-49F4-9FA0-D5A2F3060976}" dt="2021-09-13T13:16:39.387" v="2084"/>
          <ac:spMkLst>
            <pc:docMk/>
            <pc:sldMk cId="2511760066" sldId="488"/>
            <ac:spMk id="11" creationId="{32D3A7EF-E0A0-4771-8BC2-3BD316DA8D01}"/>
          </ac:spMkLst>
        </pc:spChg>
      </pc:sldChg>
      <pc:sldChg chg="modSp del mod chgLayout">
        <pc:chgData name="Ricardo Sérgio Souza e Sousa" userId="b2322a61-6b0f-42d2-a39f-a9a5f08999e4" providerId="ADAL" clId="{C9348547-B843-49F4-9FA0-D5A2F3060976}" dt="2021-09-13T14:19:41.370" v="4644" actId="47"/>
        <pc:sldMkLst>
          <pc:docMk/>
          <pc:sldMk cId="1519061481" sldId="489"/>
        </pc:sldMkLst>
        <pc:spChg chg="mod ord">
          <ac:chgData name="Ricardo Sérgio Souza e Sousa" userId="b2322a61-6b0f-42d2-a39f-a9a5f08999e4" providerId="ADAL" clId="{C9348547-B843-49F4-9FA0-D5A2F3060976}" dt="2021-09-13T13:16:39.387" v="2084"/>
          <ac:spMkLst>
            <pc:docMk/>
            <pc:sldMk cId="1519061481" sldId="489"/>
            <ac:spMk id="11" creationId="{32D3A7EF-E0A0-4771-8BC2-3BD316DA8D01}"/>
          </ac:spMkLst>
        </pc:spChg>
      </pc:sldChg>
      <pc:sldChg chg="addSp delSp modSp add del mod modClrScheme delAnim modAnim chgLayout">
        <pc:chgData name="Ricardo Sérgio Souza e Sousa" userId="b2322a61-6b0f-42d2-a39f-a9a5f08999e4" providerId="ADAL" clId="{C9348547-B843-49F4-9FA0-D5A2F3060976}" dt="2021-09-13T12:27:28.132" v="903" actId="2696"/>
        <pc:sldMkLst>
          <pc:docMk/>
          <pc:sldMk cId="2061319547" sldId="490"/>
        </pc:sldMkLst>
        <pc:spChg chg="add del mod">
          <ac:chgData name="Ricardo Sérgio Souza e Sousa" userId="b2322a61-6b0f-42d2-a39f-a9a5f08999e4" providerId="ADAL" clId="{C9348547-B843-49F4-9FA0-D5A2F3060976}" dt="2021-09-13T11:46:22.958" v="354"/>
          <ac:spMkLst>
            <pc:docMk/>
            <pc:sldMk cId="2061319547" sldId="490"/>
            <ac:spMk id="2" creationId="{DFC54134-8BAC-4B25-A2DF-FF48C4D33CCF}"/>
          </ac:spMkLst>
        </pc:spChg>
        <pc:spChg chg="add del mod ord">
          <ac:chgData name="Ricardo Sérgio Souza e Sousa" userId="b2322a61-6b0f-42d2-a39f-a9a5f08999e4" providerId="ADAL" clId="{C9348547-B843-49F4-9FA0-D5A2F3060976}" dt="2021-09-13T11:44:26.447" v="256" actId="700"/>
          <ac:spMkLst>
            <pc:docMk/>
            <pc:sldMk cId="2061319547" sldId="490"/>
            <ac:spMk id="3" creationId="{FCD871FC-35D5-4B62-B575-984410B6BB86}"/>
          </ac:spMkLst>
        </pc:spChg>
        <pc:spChg chg="add del mod ord">
          <ac:chgData name="Ricardo Sérgio Souza e Sousa" userId="b2322a61-6b0f-42d2-a39f-a9a5f08999e4" providerId="ADAL" clId="{C9348547-B843-49F4-9FA0-D5A2F3060976}" dt="2021-09-13T11:44:26.447" v="256" actId="700"/>
          <ac:spMkLst>
            <pc:docMk/>
            <pc:sldMk cId="2061319547" sldId="490"/>
            <ac:spMk id="4" creationId="{DAC2CC83-3344-48EC-A2AC-E1F063F73FF9}"/>
          </ac:spMkLst>
        </pc:spChg>
        <pc:spChg chg="del">
          <ac:chgData name="Ricardo Sérgio Souza e Sousa" userId="b2322a61-6b0f-42d2-a39f-a9a5f08999e4" providerId="ADAL" clId="{C9348547-B843-49F4-9FA0-D5A2F3060976}" dt="2021-09-13T11:22:44.214" v="4" actId="478"/>
          <ac:spMkLst>
            <pc:docMk/>
            <pc:sldMk cId="2061319547" sldId="490"/>
            <ac:spMk id="5" creationId="{FE7F4228-71A4-48BB-9B39-D248AC70EB29}"/>
          </ac:spMkLst>
        </pc:spChg>
        <pc:spChg chg="add mod">
          <ac:chgData name="Ricardo Sérgio Souza e Sousa" userId="b2322a61-6b0f-42d2-a39f-a9a5f08999e4" providerId="ADAL" clId="{C9348547-B843-49F4-9FA0-D5A2F3060976}" dt="2021-09-13T11:24:13.229" v="153" actId="20577"/>
          <ac:spMkLst>
            <pc:docMk/>
            <pc:sldMk cId="2061319547" sldId="490"/>
            <ac:spMk id="8" creationId="{97D0BC99-2F9B-433E-9F63-05F7F965F551}"/>
          </ac:spMkLst>
        </pc:spChg>
        <pc:spChg chg="del mod">
          <ac:chgData name="Ricardo Sérgio Souza e Sousa" userId="b2322a61-6b0f-42d2-a39f-a9a5f08999e4" providerId="ADAL" clId="{C9348547-B843-49F4-9FA0-D5A2F3060976}" dt="2021-09-13T11:23:47.838" v="73" actId="478"/>
          <ac:spMkLst>
            <pc:docMk/>
            <pc:sldMk cId="2061319547" sldId="490"/>
            <ac:spMk id="140291" creationId="{D409EFF4-8E11-4675-8FB2-07863EFC9340}"/>
          </ac:spMkLst>
        </pc:spChg>
        <pc:spChg chg="del">
          <ac:chgData name="Ricardo Sérgio Souza e Sousa" userId="b2322a61-6b0f-42d2-a39f-a9a5f08999e4" providerId="ADAL" clId="{C9348547-B843-49F4-9FA0-D5A2F3060976}" dt="2021-09-13T11:22:41.037" v="3" actId="478"/>
          <ac:spMkLst>
            <pc:docMk/>
            <pc:sldMk cId="2061319547" sldId="490"/>
            <ac:spMk id="140293" creationId="{8863828C-B045-4A33-A4FB-A90C94D36618}"/>
          </ac:spMkLst>
        </pc:spChg>
        <pc:graphicFrameChg chg="add mod ord modVis replST">
          <ac:chgData name="Ricardo Sérgio Souza e Sousa" userId="b2322a61-6b0f-42d2-a39f-a9a5f08999e4" providerId="ADAL" clId="{C9348547-B843-49F4-9FA0-D5A2F3060976}" dt="2021-09-13T11:44:27.898" v="273"/>
          <ac:graphicFrameMkLst>
            <pc:docMk/>
            <pc:sldMk cId="2061319547" sldId="490"/>
            <ac:graphicFrameMk id="6" creationId="{5A2364ED-8CA5-4D27-A9E1-E8C9CE734D3B}"/>
          </ac:graphicFrameMkLst>
        </pc:graphicFrameChg>
        <pc:picChg chg="add mod">
          <ac:chgData name="Ricardo Sérgio Souza e Sousa" userId="b2322a61-6b0f-42d2-a39f-a9a5f08999e4" providerId="ADAL" clId="{C9348547-B843-49F4-9FA0-D5A2F3060976}" dt="2021-09-13T11:22:45.017" v="5"/>
          <ac:picMkLst>
            <pc:docMk/>
            <pc:sldMk cId="2061319547" sldId="490"/>
            <ac:picMk id="7" creationId="{25AF18E8-1614-4AB4-B7CF-86D7BAC76271}"/>
          </ac:picMkLst>
        </pc:picChg>
        <pc:picChg chg="del">
          <ac:chgData name="Ricardo Sérgio Souza e Sousa" userId="b2322a61-6b0f-42d2-a39f-a9a5f08999e4" providerId="ADAL" clId="{C9348547-B843-49F4-9FA0-D5A2F3060976}" dt="2021-09-13T11:22:41.037" v="3" actId="478"/>
          <ac:picMkLst>
            <pc:docMk/>
            <pc:sldMk cId="2061319547" sldId="490"/>
            <ac:picMk id="140295" creationId="{19CB8897-0B41-444D-BA60-9D4BB82AB884}"/>
          </ac:picMkLst>
        </pc:picChg>
      </pc:sldChg>
      <pc:sldChg chg="add del">
        <pc:chgData name="Ricardo Sérgio Souza e Sousa" userId="b2322a61-6b0f-42d2-a39f-a9a5f08999e4" providerId="ADAL" clId="{C9348547-B843-49F4-9FA0-D5A2F3060976}" dt="2021-09-13T12:49:26.460" v="1543" actId="47"/>
        <pc:sldMkLst>
          <pc:docMk/>
          <pc:sldMk cId="2078453304" sldId="490"/>
        </pc:sldMkLst>
      </pc:sldChg>
      <pc:sldChg chg="addSp delSp modSp add del mod delAnim">
        <pc:chgData name="Ricardo Sérgio Souza e Sousa" userId="b2322a61-6b0f-42d2-a39f-a9a5f08999e4" providerId="ADAL" clId="{C9348547-B843-49F4-9FA0-D5A2F3060976}" dt="2021-09-13T11:43:47.946" v="251" actId="47"/>
        <pc:sldMkLst>
          <pc:docMk/>
          <pc:sldMk cId="313467154" sldId="491"/>
        </pc:sldMkLst>
        <pc:spChg chg="add mod">
          <ac:chgData name="Ricardo Sérgio Souza e Sousa" userId="b2322a61-6b0f-42d2-a39f-a9a5f08999e4" providerId="ADAL" clId="{C9348547-B843-49F4-9FA0-D5A2F3060976}" dt="2021-09-13T11:32:45.414" v="194" actId="478"/>
          <ac:spMkLst>
            <pc:docMk/>
            <pc:sldMk cId="313467154" sldId="491"/>
            <ac:spMk id="3" creationId="{7838F98F-C26A-478C-9C54-DE076C3E0876}"/>
          </ac:spMkLst>
        </pc:spChg>
        <pc:spChg chg="add mod">
          <ac:chgData name="Ricardo Sérgio Souza e Sousa" userId="b2322a61-6b0f-42d2-a39f-a9a5f08999e4" providerId="ADAL" clId="{C9348547-B843-49F4-9FA0-D5A2F3060976}" dt="2021-09-13T11:43:17.933" v="236" actId="2711"/>
          <ac:spMkLst>
            <pc:docMk/>
            <pc:sldMk cId="313467154" sldId="491"/>
            <ac:spMk id="8" creationId="{846F4EA5-7001-4591-AF49-201EB42FD8A8}"/>
          </ac:spMkLst>
        </pc:spChg>
        <pc:spChg chg="mod">
          <ac:chgData name="Ricardo Sérgio Souza e Sousa" userId="b2322a61-6b0f-42d2-a39f-a9a5f08999e4" providerId="ADAL" clId="{C9348547-B843-49F4-9FA0-D5A2F3060976}" dt="2021-09-13T11:43:17.933" v="236" actId="2711"/>
          <ac:spMkLst>
            <pc:docMk/>
            <pc:sldMk cId="313467154" sldId="491"/>
            <ac:spMk id="20484" creationId="{28AA11AD-E1AB-4FD3-978D-B0B38BD553D6}"/>
          </ac:spMkLst>
        </pc:spChg>
        <pc:spChg chg="del">
          <ac:chgData name="Ricardo Sérgio Souza e Sousa" userId="b2322a61-6b0f-42d2-a39f-a9a5f08999e4" providerId="ADAL" clId="{C9348547-B843-49F4-9FA0-D5A2F3060976}" dt="2021-09-13T11:32:45.414" v="194" actId="478"/>
          <ac:spMkLst>
            <pc:docMk/>
            <pc:sldMk cId="313467154" sldId="491"/>
            <ac:spMk id="20486" creationId="{C6415A9C-2273-4BF6-A85A-454174847F0F}"/>
          </ac:spMkLst>
        </pc:spChg>
        <pc:picChg chg="add mod">
          <ac:chgData name="Ricardo Sérgio Souza e Sousa" userId="b2322a61-6b0f-42d2-a39f-a9a5f08999e4" providerId="ADAL" clId="{C9348547-B843-49F4-9FA0-D5A2F3060976}" dt="2021-09-13T11:42:50.583" v="229" actId="1076"/>
          <ac:picMkLst>
            <pc:docMk/>
            <pc:sldMk cId="313467154" sldId="491"/>
            <ac:picMk id="4" creationId="{C7BD9B0B-FFFA-42C6-9FA4-30886869BE87}"/>
          </ac:picMkLst>
        </pc:picChg>
      </pc:sldChg>
      <pc:sldChg chg="addSp delSp modSp add mod modClrScheme delAnim modAnim chgLayout">
        <pc:chgData name="Ricardo Sérgio Souza e Sousa" userId="b2322a61-6b0f-42d2-a39f-a9a5f08999e4" providerId="ADAL" clId="{C9348547-B843-49F4-9FA0-D5A2F3060976}" dt="2021-09-13T12:01:45.121" v="530"/>
        <pc:sldMkLst>
          <pc:docMk/>
          <pc:sldMk cId="574535771" sldId="492"/>
        </pc:sldMkLst>
        <pc:spChg chg="add del mod">
          <ac:chgData name="Ricardo Sérgio Souza e Sousa" userId="b2322a61-6b0f-42d2-a39f-a9a5f08999e4" providerId="ADAL" clId="{C9348547-B843-49F4-9FA0-D5A2F3060976}" dt="2021-09-13T11:46:17.828" v="352"/>
          <ac:spMkLst>
            <pc:docMk/>
            <pc:sldMk cId="574535771" sldId="492"/>
            <ac:spMk id="3" creationId="{BC0166BD-F23E-46F2-94F7-FABB2064F896}"/>
          </ac:spMkLst>
        </pc:spChg>
        <pc:spChg chg="add mod">
          <ac:chgData name="Ricardo Sérgio Souza e Sousa" userId="b2322a61-6b0f-42d2-a39f-a9a5f08999e4" providerId="ADAL" clId="{C9348547-B843-49F4-9FA0-D5A2F3060976}" dt="2021-09-13T12:01:26.658" v="528" actId="14100"/>
          <ac:spMkLst>
            <pc:docMk/>
            <pc:sldMk cId="574535771" sldId="492"/>
            <ac:spMk id="7" creationId="{66667659-8DDB-40F6-8D7C-FA42F40DE14D}"/>
          </ac:spMkLst>
        </pc:spChg>
        <pc:spChg chg="mod">
          <ac:chgData name="Ricardo Sérgio Souza e Sousa" userId="b2322a61-6b0f-42d2-a39f-a9a5f08999e4" providerId="ADAL" clId="{C9348547-B843-49F4-9FA0-D5A2F3060976}" dt="2021-09-13T11:43:38.230" v="248" actId="1037"/>
          <ac:spMkLst>
            <pc:docMk/>
            <pc:sldMk cId="574535771" sldId="492"/>
            <ac:spMk id="20484" creationId="{28AA11AD-E1AB-4FD3-978D-B0B38BD553D6}"/>
          </ac:spMkLst>
        </pc:spChg>
        <pc:spChg chg="del">
          <ac:chgData name="Ricardo Sérgio Souza e Sousa" userId="b2322a61-6b0f-42d2-a39f-a9a5f08999e4" providerId="ADAL" clId="{C9348547-B843-49F4-9FA0-D5A2F3060976}" dt="2021-09-13T11:43:41.579" v="249" actId="478"/>
          <ac:spMkLst>
            <pc:docMk/>
            <pc:sldMk cId="574535771" sldId="492"/>
            <ac:spMk id="20486" creationId="{C6415A9C-2273-4BF6-A85A-454174847F0F}"/>
          </ac:spMkLst>
        </pc:spChg>
        <pc:picChg chg="add mod">
          <ac:chgData name="Ricardo Sérgio Souza e Sousa" userId="b2322a61-6b0f-42d2-a39f-a9a5f08999e4" providerId="ADAL" clId="{C9348547-B843-49F4-9FA0-D5A2F3060976}" dt="2021-09-13T11:43:45.482" v="250"/>
          <ac:picMkLst>
            <pc:docMk/>
            <pc:sldMk cId="574535771" sldId="492"/>
            <ac:picMk id="6" creationId="{97616EAD-6406-4465-907E-BEA4BC4B97D8}"/>
          </ac:picMkLst>
        </pc:picChg>
      </pc:sldChg>
      <pc:sldChg chg="add del">
        <pc:chgData name="Ricardo Sérgio Souza e Sousa" userId="b2322a61-6b0f-42d2-a39f-a9a5f08999e4" providerId="ADAL" clId="{C9348547-B843-49F4-9FA0-D5A2F3060976}" dt="2021-09-13T11:44:05.431" v="253" actId="47"/>
        <pc:sldMkLst>
          <pc:docMk/>
          <pc:sldMk cId="1054112432" sldId="493"/>
        </pc:sldMkLst>
      </pc:sldChg>
      <pc:sldChg chg="addSp delSp modSp add mod delAnim modAnim">
        <pc:chgData name="Ricardo Sérgio Souza e Sousa" userId="b2322a61-6b0f-42d2-a39f-a9a5f08999e4" providerId="ADAL" clId="{C9348547-B843-49F4-9FA0-D5A2F3060976}" dt="2021-09-13T12:41:05.518" v="1420" actId="1037"/>
        <pc:sldMkLst>
          <pc:docMk/>
          <pc:sldMk cId="2770071112" sldId="493"/>
        </pc:sldMkLst>
        <pc:spChg chg="del">
          <ac:chgData name="Ricardo Sérgio Souza e Sousa" userId="b2322a61-6b0f-42d2-a39f-a9a5f08999e4" providerId="ADAL" clId="{C9348547-B843-49F4-9FA0-D5A2F3060976}" dt="2021-09-13T11:49:10.912" v="420" actId="478"/>
          <ac:spMkLst>
            <pc:docMk/>
            <pc:sldMk cId="2770071112" sldId="493"/>
            <ac:spMk id="7" creationId="{66667659-8DDB-40F6-8D7C-FA42F40DE14D}"/>
          </ac:spMkLst>
        </pc:spChg>
        <pc:spChg chg="add mod">
          <ac:chgData name="Ricardo Sérgio Souza e Sousa" userId="b2322a61-6b0f-42d2-a39f-a9a5f08999e4" providerId="ADAL" clId="{C9348547-B843-49F4-9FA0-D5A2F3060976}" dt="2021-09-13T12:41:05.518" v="1420" actId="1037"/>
          <ac:spMkLst>
            <pc:docMk/>
            <pc:sldMk cId="2770071112" sldId="493"/>
            <ac:spMk id="9" creationId="{AFC9D6AA-3E22-436E-BDC4-C510288B5E00}"/>
          </ac:spMkLst>
        </pc:spChg>
        <pc:spChg chg="add del mod">
          <ac:chgData name="Ricardo Sérgio Souza e Sousa" userId="b2322a61-6b0f-42d2-a39f-a9a5f08999e4" providerId="ADAL" clId="{C9348547-B843-49F4-9FA0-D5A2F3060976}" dt="2021-09-13T12:39:23.312" v="1371" actId="478"/>
          <ac:spMkLst>
            <pc:docMk/>
            <pc:sldMk cId="2770071112" sldId="493"/>
            <ac:spMk id="10" creationId="{03B472F1-4241-49DA-BE70-E5AE4AB5C38F}"/>
          </ac:spMkLst>
        </pc:spChg>
        <pc:spChg chg="add mod">
          <ac:chgData name="Ricardo Sérgio Souza e Sousa" userId="b2322a61-6b0f-42d2-a39f-a9a5f08999e4" providerId="ADAL" clId="{C9348547-B843-49F4-9FA0-D5A2F3060976}" dt="2021-09-13T12:40:32.210" v="1395" actId="122"/>
          <ac:spMkLst>
            <pc:docMk/>
            <pc:sldMk cId="2770071112" sldId="493"/>
            <ac:spMk id="12" creationId="{24EA194A-03CD-40BA-9450-CC2BB7C8A4B0}"/>
          </ac:spMkLst>
        </pc:spChg>
        <pc:spChg chg="mod">
          <ac:chgData name="Ricardo Sérgio Souza e Sousa" userId="b2322a61-6b0f-42d2-a39f-a9a5f08999e4" providerId="ADAL" clId="{C9348547-B843-49F4-9FA0-D5A2F3060976}" dt="2021-09-13T12:36:27.268" v="1285" actId="20577"/>
          <ac:spMkLst>
            <pc:docMk/>
            <pc:sldMk cId="2770071112" sldId="493"/>
            <ac:spMk id="20484" creationId="{28AA11AD-E1AB-4FD3-978D-B0B38BD553D6}"/>
          </ac:spMkLst>
        </pc:spChg>
        <pc:picChg chg="add del mod modCrop">
          <ac:chgData name="Ricardo Sérgio Souza e Sousa" userId="b2322a61-6b0f-42d2-a39f-a9a5f08999e4" providerId="ADAL" clId="{C9348547-B843-49F4-9FA0-D5A2F3060976}" dt="2021-09-13T12:07:26.242" v="592" actId="21"/>
          <ac:picMkLst>
            <pc:docMk/>
            <pc:sldMk cId="2770071112" sldId="493"/>
            <ac:picMk id="2" creationId="{982001EB-A693-4440-BA54-EAA9202FFFD7}"/>
          </ac:picMkLst>
        </pc:picChg>
        <pc:picChg chg="add del mod">
          <ac:chgData name="Ricardo Sérgio Souza e Sousa" userId="b2322a61-6b0f-42d2-a39f-a9a5f08999e4" providerId="ADAL" clId="{C9348547-B843-49F4-9FA0-D5A2F3060976}" dt="2021-09-13T12:23:34.363" v="842" actId="478"/>
          <ac:picMkLst>
            <pc:docMk/>
            <pc:sldMk cId="2770071112" sldId="493"/>
            <ac:picMk id="3" creationId="{E7B8B9E8-4A3A-4945-8CD2-4EEA8A707CA2}"/>
          </ac:picMkLst>
        </pc:picChg>
        <pc:picChg chg="del">
          <ac:chgData name="Ricardo Sérgio Souza e Sousa" userId="b2322a61-6b0f-42d2-a39f-a9a5f08999e4" providerId="ADAL" clId="{C9348547-B843-49F4-9FA0-D5A2F3060976}" dt="2021-09-13T11:49:10.912" v="420" actId="478"/>
          <ac:picMkLst>
            <pc:docMk/>
            <pc:sldMk cId="2770071112" sldId="493"/>
            <ac:picMk id="6" creationId="{97616EAD-6406-4465-907E-BEA4BC4B97D8}"/>
          </ac:picMkLst>
        </pc:picChg>
        <pc:picChg chg="add del mod">
          <ac:chgData name="Ricardo Sérgio Souza e Sousa" userId="b2322a61-6b0f-42d2-a39f-a9a5f08999e4" providerId="ADAL" clId="{C9348547-B843-49F4-9FA0-D5A2F3060976}" dt="2021-09-13T12:18:26.994" v="728" actId="478"/>
          <ac:picMkLst>
            <pc:docMk/>
            <pc:sldMk cId="2770071112" sldId="493"/>
            <ac:picMk id="8" creationId="{F0EF8BA7-419A-471B-B493-A1FDB6CF070F}"/>
          </ac:picMkLst>
        </pc:picChg>
        <pc:picChg chg="add mod">
          <ac:chgData name="Ricardo Sérgio Souza e Sousa" userId="b2322a61-6b0f-42d2-a39f-a9a5f08999e4" providerId="ADAL" clId="{C9348547-B843-49F4-9FA0-D5A2F3060976}" dt="2021-09-13T12:40:20.194" v="1392" actId="1036"/>
          <ac:picMkLst>
            <pc:docMk/>
            <pc:sldMk cId="2770071112" sldId="493"/>
            <ac:picMk id="1026" creationId="{BEE7AB80-A0C6-49A4-B8D2-CC9DE117B2D8}"/>
          </ac:picMkLst>
        </pc:picChg>
      </pc:sldChg>
      <pc:sldChg chg="addSp delSp modSp add mod delAnim modAnim">
        <pc:chgData name="Ricardo Sérgio Souza e Sousa" userId="b2322a61-6b0f-42d2-a39f-a9a5f08999e4" providerId="ADAL" clId="{C9348547-B843-49F4-9FA0-D5A2F3060976}" dt="2021-09-13T12:24:24.423" v="865" actId="1076"/>
        <pc:sldMkLst>
          <pc:docMk/>
          <pc:sldMk cId="2015781255" sldId="494"/>
        </pc:sldMkLst>
        <pc:spChg chg="del">
          <ac:chgData name="Ricardo Sérgio Souza e Sousa" userId="b2322a61-6b0f-42d2-a39f-a9a5f08999e4" providerId="ADAL" clId="{C9348547-B843-49F4-9FA0-D5A2F3060976}" dt="2021-09-13T12:09:14.766" v="656" actId="478"/>
          <ac:spMkLst>
            <pc:docMk/>
            <pc:sldMk cId="2015781255" sldId="494"/>
            <ac:spMk id="7" creationId="{66667659-8DDB-40F6-8D7C-FA42F40DE14D}"/>
          </ac:spMkLst>
        </pc:spChg>
        <pc:spChg chg="add mod">
          <ac:chgData name="Ricardo Sérgio Souza e Sousa" userId="b2322a61-6b0f-42d2-a39f-a9a5f08999e4" providerId="ADAL" clId="{C9348547-B843-49F4-9FA0-D5A2F3060976}" dt="2021-09-13T12:24:24.423" v="865" actId="1076"/>
          <ac:spMkLst>
            <pc:docMk/>
            <pc:sldMk cId="2015781255" sldId="494"/>
            <ac:spMk id="12" creationId="{6D2E68C4-FEB7-4476-9EDE-12DCCD30CD23}"/>
          </ac:spMkLst>
        </pc:spChg>
        <pc:spChg chg="mod">
          <ac:chgData name="Ricardo Sérgio Souza e Sousa" userId="b2322a61-6b0f-42d2-a39f-a9a5f08999e4" providerId="ADAL" clId="{C9348547-B843-49F4-9FA0-D5A2F3060976}" dt="2021-09-13T12:17:00.449" v="705" actId="20577"/>
          <ac:spMkLst>
            <pc:docMk/>
            <pc:sldMk cId="2015781255" sldId="494"/>
            <ac:spMk id="20484" creationId="{28AA11AD-E1AB-4FD3-978D-B0B38BD553D6}"/>
          </ac:spMkLst>
        </pc:spChg>
        <pc:picChg chg="add del mod modCrop">
          <ac:chgData name="Ricardo Sérgio Souza e Sousa" userId="b2322a61-6b0f-42d2-a39f-a9a5f08999e4" providerId="ADAL" clId="{C9348547-B843-49F4-9FA0-D5A2F3060976}" dt="2021-09-13T12:16:34.863" v="673" actId="21"/>
          <ac:picMkLst>
            <pc:docMk/>
            <pc:sldMk cId="2015781255" sldId="494"/>
            <ac:picMk id="3" creationId="{348ABBDA-602F-4785-A726-434A52C3CCE6}"/>
          </ac:picMkLst>
        </pc:picChg>
        <pc:picChg chg="add del mod">
          <ac:chgData name="Ricardo Sérgio Souza e Sousa" userId="b2322a61-6b0f-42d2-a39f-a9a5f08999e4" providerId="ADAL" clId="{C9348547-B843-49F4-9FA0-D5A2F3060976}" dt="2021-09-13T12:17:54.458" v="709" actId="478"/>
          <ac:picMkLst>
            <pc:docMk/>
            <pc:sldMk cId="2015781255" sldId="494"/>
            <ac:picMk id="4" creationId="{613ABFCF-CE46-4150-97B9-B8A80A6C2B35}"/>
          </ac:picMkLst>
        </pc:picChg>
        <pc:picChg chg="del">
          <ac:chgData name="Ricardo Sérgio Souza e Sousa" userId="b2322a61-6b0f-42d2-a39f-a9a5f08999e4" providerId="ADAL" clId="{C9348547-B843-49F4-9FA0-D5A2F3060976}" dt="2021-09-13T12:09:14.766" v="656" actId="478"/>
          <ac:picMkLst>
            <pc:docMk/>
            <pc:sldMk cId="2015781255" sldId="494"/>
            <ac:picMk id="6" creationId="{97616EAD-6406-4465-907E-BEA4BC4B97D8}"/>
          </ac:picMkLst>
        </pc:picChg>
        <pc:picChg chg="add mod">
          <ac:chgData name="Ricardo Sérgio Souza e Sousa" userId="b2322a61-6b0f-42d2-a39f-a9a5f08999e4" providerId="ADAL" clId="{C9348547-B843-49F4-9FA0-D5A2F3060976}" dt="2021-09-13T12:23:58.508" v="850" actId="1076"/>
          <ac:picMkLst>
            <pc:docMk/>
            <pc:sldMk cId="2015781255" sldId="494"/>
            <ac:picMk id="8" creationId="{B828FEE2-9876-4323-A1CF-53599C3888FC}"/>
          </ac:picMkLst>
        </pc:picChg>
        <pc:picChg chg="add mod">
          <ac:chgData name="Ricardo Sérgio Souza e Sousa" userId="b2322a61-6b0f-42d2-a39f-a9a5f08999e4" providerId="ADAL" clId="{C9348547-B843-49F4-9FA0-D5A2F3060976}" dt="2021-09-13T12:18:10.848" v="717" actId="571"/>
          <ac:picMkLst>
            <pc:docMk/>
            <pc:sldMk cId="2015781255" sldId="494"/>
            <ac:picMk id="10" creationId="{95DBA3F5-9813-4AF6-B03C-9DE70364B236}"/>
          </ac:picMkLst>
        </pc:picChg>
      </pc:sldChg>
      <pc:sldChg chg="addSp delSp modSp add mod modAnim">
        <pc:chgData name="Ricardo Sérgio Souza e Sousa" userId="b2322a61-6b0f-42d2-a39f-a9a5f08999e4" providerId="ADAL" clId="{C9348547-B843-49F4-9FA0-D5A2F3060976}" dt="2021-09-13T14:22:03.824" v="4886" actId="20577"/>
        <pc:sldMkLst>
          <pc:docMk/>
          <pc:sldMk cId="2024282768" sldId="495"/>
        </pc:sldMkLst>
        <pc:spChg chg="del">
          <ac:chgData name="Ricardo Sérgio Souza e Sousa" userId="b2322a61-6b0f-42d2-a39f-a9a5f08999e4" providerId="ADAL" clId="{C9348547-B843-49F4-9FA0-D5A2F3060976}" dt="2021-09-13T12:28:04.641" v="906" actId="478"/>
          <ac:spMkLst>
            <pc:docMk/>
            <pc:sldMk cId="2024282768" sldId="495"/>
            <ac:spMk id="20484" creationId="{28AA11AD-E1AB-4FD3-978D-B0B38BD553D6}"/>
          </ac:spMkLst>
        </pc:spChg>
        <pc:spChg chg="mod ord">
          <ac:chgData name="Ricardo Sérgio Souza e Sousa" userId="b2322a61-6b0f-42d2-a39f-a9a5f08999e4" providerId="ADAL" clId="{C9348547-B843-49F4-9FA0-D5A2F3060976}" dt="2021-09-13T14:22:03.824" v="4886" actId="20577"/>
          <ac:spMkLst>
            <pc:docMk/>
            <pc:sldMk cId="2024282768" sldId="495"/>
            <ac:spMk id="20486" creationId="{C6415A9C-2273-4BF6-A85A-454174847F0F}"/>
          </ac:spMkLst>
        </pc:spChg>
        <pc:graphicFrameChg chg="add mod ord modVis replST">
          <ac:chgData name="Ricardo Sérgio Souza e Sousa" userId="b2322a61-6b0f-42d2-a39f-a9a5f08999e4" providerId="ADAL" clId="{C9348547-B843-49F4-9FA0-D5A2F3060976}" dt="2021-09-13T12:46:51.778" v="1518"/>
          <ac:graphicFrameMkLst>
            <pc:docMk/>
            <pc:sldMk cId="2024282768" sldId="495"/>
            <ac:graphicFrameMk id="3" creationId="{721642F5-C101-40CE-8779-40C020B134C3}"/>
          </ac:graphicFrameMkLst>
        </pc:graphicFrameChg>
        <pc:picChg chg="add mod ord">
          <ac:chgData name="Ricardo Sérgio Souza e Sousa" userId="b2322a61-6b0f-42d2-a39f-a9a5f08999e4" providerId="ADAL" clId="{C9348547-B843-49F4-9FA0-D5A2F3060976}" dt="2021-09-13T12:47:48.311" v="1539" actId="1038"/>
          <ac:picMkLst>
            <pc:docMk/>
            <pc:sldMk cId="2024282768" sldId="495"/>
            <ac:picMk id="2" creationId="{E10D517D-90FE-4F9E-935A-D7C754CCF06D}"/>
          </ac:picMkLst>
        </pc:picChg>
      </pc:sldChg>
      <pc:sldChg chg="add ord">
        <pc:chgData name="Ricardo Sérgio Souza e Sousa" userId="b2322a61-6b0f-42d2-a39f-a9a5f08999e4" providerId="ADAL" clId="{C9348547-B843-49F4-9FA0-D5A2F3060976}" dt="2021-09-13T12:49:06.606" v="1542"/>
        <pc:sldMkLst>
          <pc:docMk/>
          <pc:sldMk cId="1923835185" sldId="496"/>
        </pc:sldMkLst>
      </pc:sldChg>
      <pc:sldChg chg="addSp delSp modSp add mod modClrScheme modAnim chgLayout">
        <pc:chgData name="Ricardo Sérgio Souza e Sousa" userId="b2322a61-6b0f-42d2-a39f-a9a5f08999e4" providerId="ADAL" clId="{C9348547-B843-49F4-9FA0-D5A2F3060976}" dt="2021-09-13T13:35:17.633" v="2828" actId="1038"/>
        <pc:sldMkLst>
          <pc:docMk/>
          <pc:sldMk cId="510632537" sldId="497"/>
        </pc:sldMkLst>
        <pc:spChg chg="mod ord">
          <ac:chgData name="Ricardo Sérgio Souza e Sousa" userId="b2322a61-6b0f-42d2-a39f-a9a5f08999e4" providerId="ADAL" clId="{C9348547-B843-49F4-9FA0-D5A2F3060976}" dt="2021-09-13T13:34:49.526" v="2801"/>
          <ac:spMkLst>
            <pc:docMk/>
            <pc:sldMk cId="510632537" sldId="497"/>
            <ac:spMk id="2" creationId="{00000000-0000-0000-0000-000000000000}"/>
          </ac:spMkLst>
        </pc:spChg>
        <pc:spChg chg="add del mod modVis">
          <ac:chgData name="Ricardo Sérgio Souza e Sousa" userId="b2322a61-6b0f-42d2-a39f-a9a5f08999e4" providerId="ADAL" clId="{C9348547-B843-49F4-9FA0-D5A2F3060976}" dt="2021-09-13T13:16:41.037" v="2125"/>
          <ac:spMkLst>
            <pc:docMk/>
            <pc:sldMk cId="510632537" sldId="497"/>
            <ac:spMk id="3" creationId="{9D3B2DDF-3090-4F74-8DEE-51568C16C060}"/>
          </ac:spMkLst>
        </pc:spChg>
        <pc:spChg chg="mod ord">
          <ac:chgData name="Ricardo Sérgio Souza e Sousa" userId="b2322a61-6b0f-42d2-a39f-a9a5f08999e4" providerId="ADAL" clId="{C9348547-B843-49F4-9FA0-D5A2F3060976}" dt="2021-09-13T13:34:49.526" v="2803"/>
          <ac:spMkLst>
            <pc:docMk/>
            <pc:sldMk cId="510632537" sldId="497"/>
            <ac:spMk id="4" creationId="{00000000-0000-0000-0000-000000000000}"/>
          </ac:spMkLst>
        </pc:spChg>
        <pc:spChg chg="mod ord">
          <ac:chgData name="Ricardo Sérgio Souza e Sousa" userId="b2322a61-6b0f-42d2-a39f-a9a5f08999e4" providerId="ADAL" clId="{C9348547-B843-49F4-9FA0-D5A2F3060976}" dt="2021-09-13T13:34:49.526" v="2805"/>
          <ac:spMkLst>
            <pc:docMk/>
            <pc:sldMk cId="510632537" sldId="497"/>
            <ac:spMk id="6" creationId="{00000000-0000-0000-0000-000000000000}"/>
          </ac:spMkLst>
        </pc:spChg>
        <pc:spChg chg="mod ord">
          <ac:chgData name="Ricardo Sérgio Souza e Sousa" userId="b2322a61-6b0f-42d2-a39f-a9a5f08999e4" providerId="ADAL" clId="{C9348547-B843-49F4-9FA0-D5A2F3060976}" dt="2021-09-13T13:34:49.527" v="2807"/>
          <ac:spMkLst>
            <pc:docMk/>
            <pc:sldMk cId="510632537" sldId="497"/>
            <ac:spMk id="7" creationId="{00000000-0000-0000-0000-000000000000}"/>
          </ac:spMkLst>
        </pc:spChg>
        <pc:spChg chg="add del mod modVis">
          <ac:chgData name="Ricardo Sérgio Souza e Sousa" userId="b2322a61-6b0f-42d2-a39f-a9a5f08999e4" providerId="ADAL" clId="{C9348547-B843-49F4-9FA0-D5A2F3060976}" dt="2021-09-13T13:17:09.574" v="2184"/>
          <ac:spMkLst>
            <pc:docMk/>
            <pc:sldMk cId="510632537" sldId="497"/>
            <ac:spMk id="8" creationId="{FC6D3EF4-9BCC-4A93-B82D-86BB56F010B6}"/>
          </ac:spMkLst>
        </pc:spChg>
        <pc:spChg chg="add del mod modVis">
          <ac:chgData name="Ricardo Sérgio Souza e Sousa" userId="b2322a61-6b0f-42d2-a39f-a9a5f08999e4" providerId="ADAL" clId="{C9348547-B843-49F4-9FA0-D5A2F3060976}" dt="2021-09-13T13:17:12.649" v="2228"/>
          <ac:spMkLst>
            <pc:docMk/>
            <pc:sldMk cId="510632537" sldId="497"/>
            <ac:spMk id="9" creationId="{4BABD74F-E215-4CD6-8DAE-FD1A53A9CC4F}"/>
          </ac:spMkLst>
        </pc:spChg>
        <pc:spChg chg="add del mod modVis">
          <ac:chgData name="Ricardo Sérgio Souza e Sousa" userId="b2322a61-6b0f-42d2-a39f-a9a5f08999e4" providerId="ADAL" clId="{C9348547-B843-49F4-9FA0-D5A2F3060976}" dt="2021-09-13T13:17:15.112" v="2272"/>
          <ac:spMkLst>
            <pc:docMk/>
            <pc:sldMk cId="510632537" sldId="497"/>
            <ac:spMk id="11" creationId="{A4D6CB61-7B7F-4051-9EAF-0722473D3624}"/>
          </ac:spMkLst>
        </pc:spChg>
        <pc:graphicFrameChg chg="add mod ord modVis replST">
          <ac:chgData name="Ricardo Sérgio Souza e Sousa" userId="b2322a61-6b0f-42d2-a39f-a9a5f08999e4" providerId="ADAL" clId="{C9348547-B843-49F4-9FA0-D5A2F3060976}" dt="2021-09-13T13:34:49.530" v="2814"/>
          <ac:graphicFrameMkLst>
            <pc:docMk/>
            <pc:sldMk cId="510632537" sldId="497"/>
            <ac:graphicFrameMk id="5" creationId="{10816088-CE70-4822-8739-06F0EB8E2476}"/>
          </ac:graphicFrameMkLst>
        </pc:graphicFrameChg>
        <pc:picChg chg="del">
          <ac:chgData name="Ricardo Sérgio Souza e Sousa" userId="b2322a61-6b0f-42d2-a39f-a9a5f08999e4" providerId="ADAL" clId="{C9348547-B843-49F4-9FA0-D5A2F3060976}" dt="2021-09-13T13:17:37.049" v="2277" actId="478"/>
          <ac:picMkLst>
            <pc:docMk/>
            <pc:sldMk cId="510632537" sldId="497"/>
            <ac:picMk id="10" creationId="{00000000-0000-0000-0000-000000000000}"/>
          </ac:picMkLst>
        </pc:picChg>
        <pc:picChg chg="add mod ord">
          <ac:chgData name="Ricardo Sérgio Souza e Sousa" userId="b2322a61-6b0f-42d2-a39f-a9a5f08999e4" providerId="ADAL" clId="{C9348547-B843-49F4-9FA0-D5A2F3060976}" dt="2021-09-13T13:35:17.633" v="2828" actId="1038"/>
          <ac:picMkLst>
            <pc:docMk/>
            <pc:sldMk cId="510632537" sldId="497"/>
            <ac:picMk id="12" creationId="{9CC47AFE-0029-4395-9F5F-EE6F32209504}"/>
          </ac:picMkLst>
        </pc:picChg>
        <pc:picChg chg="add mod ord">
          <ac:chgData name="Ricardo Sérgio Souza e Sousa" userId="b2322a61-6b0f-42d2-a39f-a9a5f08999e4" providerId="ADAL" clId="{C9348547-B843-49F4-9FA0-D5A2F3060976}" dt="2021-09-13T13:35:07.068" v="2817" actId="1076"/>
          <ac:picMkLst>
            <pc:docMk/>
            <pc:sldMk cId="510632537" sldId="497"/>
            <ac:picMk id="13" creationId="{5C01DC3B-A366-4C2D-B2E0-0806C6A6125D}"/>
          </ac:picMkLst>
        </pc:picChg>
        <pc:picChg chg="add mod ord">
          <ac:chgData name="Ricardo Sérgio Souza e Sousa" userId="b2322a61-6b0f-42d2-a39f-a9a5f08999e4" providerId="ADAL" clId="{C9348547-B843-49F4-9FA0-D5A2F3060976}" dt="2021-09-13T13:34:49.527" v="2811"/>
          <ac:picMkLst>
            <pc:docMk/>
            <pc:sldMk cId="510632537" sldId="497"/>
            <ac:picMk id="14" creationId="{0E82742E-40E7-4FE9-BB06-5D43496B1F0D}"/>
          </ac:picMkLst>
        </pc:picChg>
      </pc:sldChg>
      <pc:sldChg chg="addSp delSp modSp add mod modClrScheme modAnim chgLayout">
        <pc:chgData name="Ricardo Sérgio Souza e Sousa" userId="b2322a61-6b0f-42d2-a39f-a9a5f08999e4" providerId="ADAL" clId="{C9348547-B843-49F4-9FA0-D5A2F3060976}" dt="2021-09-13T13:31:58.947" v="2662" actId="20577"/>
        <pc:sldMkLst>
          <pc:docMk/>
          <pc:sldMk cId="4197700736" sldId="498"/>
        </pc:sldMkLst>
        <pc:spChg chg="mod">
          <ac:chgData name="Ricardo Sérgio Souza e Sousa" userId="b2322a61-6b0f-42d2-a39f-a9a5f08999e4" providerId="ADAL" clId="{C9348547-B843-49F4-9FA0-D5A2F3060976}" dt="2021-09-13T13:31:58.947" v="2662" actId="20577"/>
          <ac:spMkLst>
            <pc:docMk/>
            <pc:sldMk cId="4197700736" sldId="498"/>
            <ac:spMk id="2" creationId="{00000000-0000-0000-0000-000000000000}"/>
          </ac:spMkLst>
        </pc:spChg>
        <pc:spChg chg="add del mod modVis">
          <ac:chgData name="Ricardo Sérgio Souza e Sousa" userId="b2322a61-6b0f-42d2-a39f-a9a5f08999e4" providerId="ADAL" clId="{C9348547-B843-49F4-9FA0-D5A2F3060976}" dt="2021-09-13T13:28:51.166" v="2369"/>
          <ac:spMkLst>
            <pc:docMk/>
            <pc:sldMk cId="4197700736" sldId="498"/>
            <ac:spMk id="3" creationId="{5B12486A-16B2-494A-BDC1-42384D3F5F60}"/>
          </ac:spMkLst>
        </pc:spChg>
        <pc:spChg chg="mod ord">
          <ac:chgData name="Ricardo Sérgio Souza e Sousa" userId="b2322a61-6b0f-42d2-a39f-a9a5f08999e4" providerId="ADAL" clId="{C9348547-B843-49F4-9FA0-D5A2F3060976}" dt="2021-09-13T13:31:52.656" v="2603"/>
          <ac:spMkLst>
            <pc:docMk/>
            <pc:sldMk cId="4197700736" sldId="498"/>
            <ac:spMk id="5" creationId="{00000000-0000-0000-0000-000000000000}"/>
          </ac:spMkLst>
        </pc:spChg>
        <pc:spChg chg="add del mod modVis">
          <ac:chgData name="Ricardo Sérgio Souza e Sousa" userId="b2322a61-6b0f-42d2-a39f-a9a5f08999e4" providerId="ADAL" clId="{C9348547-B843-49F4-9FA0-D5A2F3060976}" dt="2021-09-13T13:28:54.333" v="2428"/>
          <ac:spMkLst>
            <pc:docMk/>
            <pc:sldMk cId="4197700736" sldId="498"/>
            <ac:spMk id="7" creationId="{3BF654F0-7963-4FE4-B6BB-3012C1D86C83}"/>
          </ac:spMkLst>
        </pc:spChg>
        <pc:spChg chg="add del mod modVis">
          <ac:chgData name="Ricardo Sérgio Souza e Sousa" userId="b2322a61-6b0f-42d2-a39f-a9a5f08999e4" providerId="ADAL" clId="{C9348547-B843-49F4-9FA0-D5A2F3060976}" dt="2021-09-13T13:31:52.677" v="2643"/>
          <ac:spMkLst>
            <pc:docMk/>
            <pc:sldMk cId="4197700736" sldId="498"/>
            <ac:spMk id="9" creationId="{2EFB71E0-2BEA-4FA5-BE3A-2E4BAA058340}"/>
          </ac:spMkLst>
        </pc:spChg>
        <pc:graphicFrameChg chg="add mod ord modVis replST">
          <ac:chgData name="Ricardo Sérgio Souza e Sousa" userId="b2322a61-6b0f-42d2-a39f-a9a5f08999e4" providerId="ADAL" clId="{C9348547-B843-49F4-9FA0-D5A2F3060976}" dt="2021-09-13T13:31:52.677" v="2645"/>
          <ac:graphicFrameMkLst>
            <pc:docMk/>
            <pc:sldMk cId="4197700736" sldId="498"/>
            <ac:graphicFrameMk id="6" creationId="{B36957B6-32DD-468A-BA49-2C22A38AFB82}"/>
          </ac:graphicFrameMkLst>
        </pc:graphicFrameChg>
        <pc:picChg chg="del">
          <ac:chgData name="Ricardo Sérgio Souza e Sousa" userId="b2322a61-6b0f-42d2-a39f-a9a5f08999e4" providerId="ADAL" clId="{C9348547-B843-49F4-9FA0-D5A2F3060976}" dt="2021-09-13T13:29:00.176" v="2431" actId="478"/>
          <ac:picMkLst>
            <pc:docMk/>
            <pc:sldMk cId="4197700736" sldId="498"/>
            <ac:picMk id="4" creationId="{00000000-0000-0000-0000-000000000000}"/>
          </ac:picMkLst>
        </pc:picChg>
        <pc:picChg chg="add mod">
          <ac:chgData name="Ricardo Sérgio Souza e Sousa" userId="b2322a61-6b0f-42d2-a39f-a9a5f08999e4" providerId="ADAL" clId="{C9348547-B843-49F4-9FA0-D5A2F3060976}" dt="2021-09-13T13:29:26.997" v="2438" actId="1036"/>
          <ac:picMkLst>
            <pc:docMk/>
            <pc:sldMk cId="4197700736" sldId="498"/>
            <ac:picMk id="8" creationId="{AC1A984B-3D4D-4A0F-B29B-3CE100FFF49D}"/>
          </ac:picMkLst>
        </pc:picChg>
      </pc:sldChg>
      <pc:sldChg chg="addSp delSp modSp add mod modClrScheme delAnim modAnim chgLayout">
        <pc:chgData name="Ricardo Sérgio Souza e Sousa" userId="b2322a61-6b0f-42d2-a39f-a9a5f08999e4" providerId="ADAL" clId="{C9348547-B843-49F4-9FA0-D5A2F3060976}" dt="2021-09-13T14:38:55.817" v="5147" actId="1076"/>
        <pc:sldMkLst>
          <pc:docMk/>
          <pc:sldMk cId="2011170470" sldId="499"/>
        </pc:sldMkLst>
        <pc:spChg chg="mod ord">
          <ac:chgData name="Ricardo Sérgio Souza e Sousa" userId="b2322a61-6b0f-42d2-a39f-a9a5f08999e4" providerId="ADAL" clId="{C9348547-B843-49F4-9FA0-D5A2F3060976}" dt="2021-09-13T13:31:43.154" v="2551" actId="948"/>
          <ac:spMkLst>
            <pc:docMk/>
            <pc:sldMk cId="2011170470" sldId="499"/>
            <ac:spMk id="2" creationId="{00000000-0000-0000-0000-000000000000}"/>
          </ac:spMkLst>
        </pc:spChg>
        <pc:spChg chg="add del mod modVis">
          <ac:chgData name="Ricardo Sérgio Souza e Sousa" userId="b2322a61-6b0f-42d2-a39f-a9a5f08999e4" providerId="ADAL" clId="{C9348547-B843-49F4-9FA0-D5A2F3060976}" dt="2021-09-13T13:31:38.076" v="2489"/>
          <ac:spMkLst>
            <pc:docMk/>
            <pc:sldMk cId="2011170470" sldId="499"/>
            <ac:spMk id="3" creationId="{74E01A60-9153-4DB6-B00F-E9449ADC0986}"/>
          </ac:spMkLst>
        </pc:spChg>
        <pc:spChg chg="add del mod modVis">
          <ac:chgData name="Ricardo Sérgio Souza e Sousa" userId="b2322a61-6b0f-42d2-a39f-a9a5f08999e4" providerId="ADAL" clId="{C9348547-B843-49F4-9FA0-D5A2F3060976}" dt="2021-09-13T13:31:41.259" v="2547"/>
          <ac:spMkLst>
            <pc:docMk/>
            <pc:sldMk cId="2011170470" sldId="499"/>
            <ac:spMk id="5" creationId="{A5A93191-A621-4956-BEC8-E0757CBDB815}"/>
          </ac:spMkLst>
        </pc:spChg>
        <pc:spChg chg="add del mod modVis">
          <ac:chgData name="Ricardo Sérgio Souza e Sousa" userId="b2322a61-6b0f-42d2-a39f-a9a5f08999e4" providerId="ADAL" clId="{C9348547-B843-49F4-9FA0-D5A2F3060976}" dt="2021-09-13T13:31:43.170" v="2591"/>
          <ac:spMkLst>
            <pc:docMk/>
            <pc:sldMk cId="2011170470" sldId="499"/>
            <ac:spMk id="6" creationId="{FAEA5DE1-026C-466C-9D47-EBA8E4014055}"/>
          </ac:spMkLst>
        </pc:spChg>
        <pc:spChg chg="del">
          <ac:chgData name="Ricardo Sérgio Souza e Sousa" userId="b2322a61-6b0f-42d2-a39f-a9a5f08999e4" providerId="ADAL" clId="{C9348547-B843-49F4-9FA0-D5A2F3060976}" dt="2021-09-13T13:42:48.295" v="2835" actId="478"/>
          <ac:spMkLst>
            <pc:docMk/>
            <pc:sldMk cId="2011170470" sldId="499"/>
            <ac:spMk id="8" creationId="{00000000-0000-0000-0000-000000000000}"/>
          </ac:spMkLst>
        </pc:spChg>
        <pc:spChg chg="del mod">
          <ac:chgData name="Ricardo Sérgio Souza e Sousa" userId="b2322a61-6b0f-42d2-a39f-a9a5f08999e4" providerId="ADAL" clId="{C9348547-B843-49F4-9FA0-D5A2F3060976}" dt="2021-09-13T14:37:55.426" v="5087" actId="478"/>
          <ac:spMkLst>
            <pc:docMk/>
            <pc:sldMk cId="2011170470" sldId="499"/>
            <ac:spMk id="9" creationId="{00000000-0000-0000-0000-000000000000}"/>
          </ac:spMkLst>
        </pc:spChg>
        <pc:spChg chg="add del mod">
          <ac:chgData name="Ricardo Sérgio Souza e Sousa" userId="b2322a61-6b0f-42d2-a39f-a9a5f08999e4" providerId="ADAL" clId="{C9348547-B843-49F4-9FA0-D5A2F3060976}" dt="2021-09-13T14:37:47.488" v="5085"/>
          <ac:spMkLst>
            <pc:docMk/>
            <pc:sldMk cId="2011170470" sldId="499"/>
            <ac:spMk id="15" creationId="{B02E78D1-BE91-479E-ACBA-4A501882217B}"/>
          </ac:spMkLst>
        </pc:spChg>
        <pc:spChg chg="add mod">
          <ac:chgData name="Ricardo Sérgio Souza e Sousa" userId="b2322a61-6b0f-42d2-a39f-a9a5f08999e4" providerId="ADAL" clId="{C9348547-B843-49F4-9FA0-D5A2F3060976}" dt="2021-09-13T14:38:55.817" v="5147" actId="1076"/>
          <ac:spMkLst>
            <pc:docMk/>
            <pc:sldMk cId="2011170470" sldId="499"/>
            <ac:spMk id="16" creationId="{254F783C-74C2-4321-AB0B-D3C61B7D6565}"/>
          </ac:spMkLst>
        </pc:spChg>
        <pc:graphicFrameChg chg="add mod ord modVis replST">
          <ac:chgData name="Ricardo Sérgio Souza e Sousa" userId="b2322a61-6b0f-42d2-a39f-a9a5f08999e4" providerId="ADAL" clId="{C9348547-B843-49F4-9FA0-D5A2F3060976}" dt="2021-09-13T13:31:43.186" v="2593"/>
          <ac:graphicFrameMkLst>
            <pc:docMk/>
            <pc:sldMk cId="2011170470" sldId="499"/>
            <ac:graphicFrameMk id="4" creationId="{B3183630-85FA-423B-B4CC-2861025CB2B2}"/>
          </ac:graphicFrameMkLst>
        </pc:graphicFrameChg>
        <pc:picChg chg="add del mod modCrop">
          <ac:chgData name="Ricardo Sérgio Souza e Sousa" userId="b2322a61-6b0f-42d2-a39f-a9a5f08999e4" providerId="ADAL" clId="{C9348547-B843-49F4-9FA0-D5A2F3060976}" dt="2021-09-13T13:42:56.951" v="2837" actId="21"/>
          <ac:picMkLst>
            <pc:docMk/>
            <pc:sldMk cId="2011170470" sldId="499"/>
            <ac:picMk id="7" creationId="{BD25DA46-3C8A-4840-88F7-8CC7B6CE8066}"/>
          </ac:picMkLst>
        </pc:picChg>
        <pc:picChg chg="add del mod">
          <ac:chgData name="Ricardo Sérgio Souza e Sousa" userId="b2322a61-6b0f-42d2-a39f-a9a5f08999e4" providerId="ADAL" clId="{C9348547-B843-49F4-9FA0-D5A2F3060976}" dt="2021-09-13T13:43:16.351" v="2842" actId="478"/>
          <ac:picMkLst>
            <pc:docMk/>
            <pc:sldMk cId="2011170470" sldId="499"/>
            <ac:picMk id="10" creationId="{DB4FAD9F-6FC8-44EA-82DB-F945084326F0}"/>
          </ac:picMkLst>
        </pc:picChg>
        <pc:picChg chg="add del mod modCrop">
          <ac:chgData name="Ricardo Sérgio Souza e Sousa" userId="b2322a61-6b0f-42d2-a39f-a9a5f08999e4" providerId="ADAL" clId="{C9348547-B843-49F4-9FA0-D5A2F3060976}" dt="2021-09-13T13:43:38.282" v="2846" actId="21"/>
          <ac:picMkLst>
            <pc:docMk/>
            <pc:sldMk cId="2011170470" sldId="499"/>
            <ac:picMk id="11" creationId="{EEEAAB7B-D128-4415-A038-DA9A8D0B7B73}"/>
          </ac:picMkLst>
        </pc:picChg>
        <pc:picChg chg="add del mod">
          <ac:chgData name="Ricardo Sérgio Souza e Sousa" userId="b2322a61-6b0f-42d2-a39f-a9a5f08999e4" providerId="ADAL" clId="{C9348547-B843-49F4-9FA0-D5A2F3060976}" dt="2021-09-13T14:37:55.426" v="5087" actId="478"/>
          <ac:picMkLst>
            <pc:docMk/>
            <pc:sldMk cId="2011170470" sldId="499"/>
            <ac:picMk id="12" creationId="{34725C2D-1E2F-42AA-8B11-41AB2B18D6D6}"/>
          </ac:picMkLst>
        </pc:picChg>
        <pc:picChg chg="add del">
          <ac:chgData name="Ricardo Sérgio Souza e Sousa" userId="b2322a61-6b0f-42d2-a39f-a9a5f08999e4" providerId="ADAL" clId="{C9348547-B843-49F4-9FA0-D5A2F3060976}" dt="2021-09-13T13:42:38.243" v="2831" actId="478"/>
          <ac:picMkLst>
            <pc:docMk/>
            <pc:sldMk cId="2011170470" sldId="499"/>
            <ac:picMk id="1026" creationId="{00000000-0000-0000-0000-000000000000}"/>
          </ac:picMkLst>
        </pc:picChg>
        <pc:picChg chg="del">
          <ac:chgData name="Ricardo Sérgio Souza e Sousa" userId="b2322a61-6b0f-42d2-a39f-a9a5f08999e4" providerId="ADAL" clId="{C9348547-B843-49F4-9FA0-D5A2F3060976}" dt="2021-09-13T13:42:48.295" v="2835" actId="478"/>
          <ac:picMkLst>
            <pc:docMk/>
            <pc:sldMk cId="2011170470" sldId="499"/>
            <ac:picMk id="2050" creationId="{00000000-0000-0000-0000-000000000000}"/>
          </ac:picMkLst>
        </pc:picChg>
      </pc:sldChg>
      <pc:sldChg chg="addSp delSp modSp add mod modClrScheme modAnim chgLayout">
        <pc:chgData name="Ricardo Sérgio Souza e Sousa" userId="b2322a61-6b0f-42d2-a39f-a9a5f08999e4" providerId="ADAL" clId="{C9348547-B843-49F4-9FA0-D5A2F3060976}" dt="2021-09-13T14:01:53.098" v="3874" actId="207"/>
        <pc:sldMkLst>
          <pc:docMk/>
          <pc:sldMk cId="3566377165" sldId="500"/>
        </pc:sldMkLst>
        <pc:spChg chg="add del mod modVis">
          <ac:chgData name="Ricardo Sérgio Souza e Sousa" userId="b2322a61-6b0f-42d2-a39f-a9a5f08999e4" providerId="ADAL" clId="{C9348547-B843-49F4-9FA0-D5A2F3060976}" dt="2021-09-13T13:48:57.321" v="3050"/>
          <ac:spMkLst>
            <pc:docMk/>
            <pc:sldMk cId="3566377165" sldId="500"/>
            <ac:spMk id="2" creationId="{30D5F4F0-5168-41A6-AF0F-02B98C31B921}"/>
          </ac:spMkLst>
        </pc:spChg>
        <pc:spChg chg="mod ord">
          <ac:chgData name="Ricardo Sérgio Souza e Sousa" userId="b2322a61-6b0f-42d2-a39f-a9a5f08999e4" providerId="ADAL" clId="{C9348547-B843-49F4-9FA0-D5A2F3060976}" dt="2021-09-13T13:49:26.292" v="3469" actId="948"/>
          <ac:spMkLst>
            <pc:docMk/>
            <pc:sldMk cId="3566377165" sldId="500"/>
            <ac:spMk id="4" creationId="{00000000-0000-0000-0000-000000000000}"/>
          </ac:spMkLst>
        </pc:spChg>
        <pc:spChg chg="mod">
          <ac:chgData name="Ricardo Sérgio Souza e Sousa" userId="b2322a61-6b0f-42d2-a39f-a9a5f08999e4" providerId="ADAL" clId="{C9348547-B843-49F4-9FA0-D5A2F3060976}" dt="2021-09-13T13:57:14.791" v="3761" actId="1036"/>
          <ac:spMkLst>
            <pc:docMk/>
            <pc:sldMk cId="3566377165" sldId="500"/>
            <ac:spMk id="5" creationId="{00000000-0000-0000-0000-000000000000}"/>
          </ac:spMkLst>
        </pc:spChg>
        <pc:spChg chg="del">
          <ac:chgData name="Ricardo Sérgio Souza e Sousa" userId="b2322a61-6b0f-42d2-a39f-a9a5f08999e4" providerId="ADAL" clId="{C9348547-B843-49F4-9FA0-D5A2F3060976}" dt="2021-09-13T13:46:39.938" v="2943" actId="478"/>
          <ac:spMkLst>
            <pc:docMk/>
            <pc:sldMk cId="3566377165" sldId="500"/>
            <ac:spMk id="6" creationId="{00000000-0000-0000-0000-000000000000}"/>
          </ac:spMkLst>
        </pc:spChg>
        <pc:spChg chg="del mod">
          <ac:chgData name="Ricardo Sérgio Souza e Sousa" userId="b2322a61-6b0f-42d2-a39f-a9a5f08999e4" providerId="ADAL" clId="{C9348547-B843-49F4-9FA0-D5A2F3060976}" dt="2021-09-13T13:46:54.842" v="2950" actId="478"/>
          <ac:spMkLst>
            <pc:docMk/>
            <pc:sldMk cId="3566377165" sldId="500"/>
            <ac:spMk id="7" creationId="{00000000-0000-0000-0000-000000000000}"/>
          </ac:spMkLst>
        </pc:spChg>
        <pc:spChg chg="add del mod">
          <ac:chgData name="Ricardo Sérgio Souza e Sousa" userId="b2322a61-6b0f-42d2-a39f-a9a5f08999e4" providerId="ADAL" clId="{C9348547-B843-49F4-9FA0-D5A2F3060976}" dt="2021-09-13T13:57:14.791" v="3761" actId="1036"/>
          <ac:spMkLst>
            <pc:docMk/>
            <pc:sldMk cId="3566377165" sldId="500"/>
            <ac:spMk id="8" creationId="{00000000-0000-0000-0000-000000000000}"/>
          </ac:spMkLst>
        </pc:spChg>
        <pc:spChg chg="del mod">
          <ac:chgData name="Ricardo Sérgio Souza e Sousa" userId="b2322a61-6b0f-42d2-a39f-a9a5f08999e4" providerId="ADAL" clId="{C9348547-B843-49F4-9FA0-D5A2F3060976}" dt="2021-09-13T13:55:41.238" v="3584" actId="478"/>
          <ac:spMkLst>
            <pc:docMk/>
            <pc:sldMk cId="3566377165" sldId="500"/>
            <ac:spMk id="9" creationId="{00000000-0000-0000-0000-000000000000}"/>
          </ac:spMkLst>
        </pc:spChg>
        <pc:spChg chg="add del mod modVis">
          <ac:chgData name="Ricardo Sérgio Souza e Sousa" userId="b2322a61-6b0f-42d2-a39f-a9a5f08999e4" providerId="ADAL" clId="{C9348547-B843-49F4-9FA0-D5A2F3060976}" dt="2021-09-13T13:48:57.960" v="3108"/>
          <ac:spMkLst>
            <pc:docMk/>
            <pc:sldMk cId="3566377165" sldId="500"/>
            <ac:spMk id="10" creationId="{EA09EE45-ECA6-43F3-8EFE-670D6921658E}"/>
          </ac:spMkLst>
        </pc:spChg>
        <pc:spChg chg="add del mod modVis">
          <ac:chgData name="Ricardo Sérgio Souza e Sousa" userId="b2322a61-6b0f-42d2-a39f-a9a5f08999e4" providerId="ADAL" clId="{C9348547-B843-49F4-9FA0-D5A2F3060976}" dt="2021-09-13T13:49:00.570" v="3152"/>
          <ac:spMkLst>
            <pc:docMk/>
            <pc:sldMk cId="3566377165" sldId="500"/>
            <ac:spMk id="12" creationId="{84F7F68C-D3C6-4B7F-AC9F-BD912CC68959}"/>
          </ac:spMkLst>
        </pc:spChg>
        <pc:spChg chg="add del mod modVis">
          <ac:chgData name="Ricardo Sérgio Souza e Sousa" userId="b2322a61-6b0f-42d2-a39f-a9a5f08999e4" providerId="ADAL" clId="{C9348547-B843-49F4-9FA0-D5A2F3060976}" dt="2021-09-13T13:49:02.859" v="3196"/>
          <ac:spMkLst>
            <pc:docMk/>
            <pc:sldMk cId="3566377165" sldId="500"/>
            <ac:spMk id="13" creationId="{F5257072-DE88-45F1-A88D-CCB148B16A4A}"/>
          </ac:spMkLst>
        </pc:spChg>
        <pc:spChg chg="add del mod modVis">
          <ac:chgData name="Ricardo Sérgio Souza e Sousa" userId="b2322a61-6b0f-42d2-a39f-a9a5f08999e4" providerId="ADAL" clId="{C9348547-B843-49F4-9FA0-D5A2F3060976}" dt="2021-09-13T13:49:04.504" v="3240"/>
          <ac:spMkLst>
            <pc:docMk/>
            <pc:sldMk cId="3566377165" sldId="500"/>
            <ac:spMk id="14" creationId="{CB742A89-7C3F-47EC-B6C6-CAE77078B067}"/>
          </ac:spMkLst>
        </pc:spChg>
        <pc:spChg chg="add del mod modVis">
          <ac:chgData name="Ricardo Sérgio Souza e Sousa" userId="b2322a61-6b0f-42d2-a39f-a9a5f08999e4" providerId="ADAL" clId="{C9348547-B843-49F4-9FA0-D5A2F3060976}" dt="2021-09-13T13:49:07.473" v="3284"/>
          <ac:spMkLst>
            <pc:docMk/>
            <pc:sldMk cId="3566377165" sldId="500"/>
            <ac:spMk id="15" creationId="{51091046-9A06-409E-9979-44C565924CF9}"/>
          </ac:spMkLst>
        </pc:spChg>
        <pc:spChg chg="add del mod modVis">
          <ac:chgData name="Ricardo Sérgio Souza e Sousa" userId="b2322a61-6b0f-42d2-a39f-a9a5f08999e4" providerId="ADAL" clId="{C9348547-B843-49F4-9FA0-D5A2F3060976}" dt="2021-09-13T13:49:19.466" v="3375"/>
          <ac:spMkLst>
            <pc:docMk/>
            <pc:sldMk cId="3566377165" sldId="500"/>
            <ac:spMk id="16" creationId="{30A9584B-1100-4BE5-AC49-E019960DE1AC}"/>
          </ac:spMkLst>
        </pc:spChg>
        <pc:spChg chg="add del mod modVis">
          <ac:chgData name="Ricardo Sérgio Souza e Sousa" userId="b2322a61-6b0f-42d2-a39f-a9a5f08999e4" providerId="ADAL" clId="{C9348547-B843-49F4-9FA0-D5A2F3060976}" dt="2021-09-13T13:49:22.545" v="3419"/>
          <ac:spMkLst>
            <pc:docMk/>
            <pc:sldMk cId="3566377165" sldId="500"/>
            <ac:spMk id="17" creationId="{508E7E6B-C689-4143-90A2-505AC73C6C4A}"/>
          </ac:spMkLst>
        </pc:spChg>
        <pc:spChg chg="add del mod modVis">
          <ac:chgData name="Ricardo Sérgio Souza e Sousa" userId="b2322a61-6b0f-42d2-a39f-a9a5f08999e4" providerId="ADAL" clId="{C9348547-B843-49F4-9FA0-D5A2F3060976}" dt="2021-09-13T13:49:25.025" v="3465"/>
          <ac:spMkLst>
            <pc:docMk/>
            <pc:sldMk cId="3566377165" sldId="500"/>
            <ac:spMk id="18" creationId="{2045AEC1-9711-4BED-B194-D07CC624448D}"/>
          </ac:spMkLst>
        </pc:spChg>
        <pc:spChg chg="add del mod modVis">
          <ac:chgData name="Ricardo Sérgio Souza e Sousa" userId="b2322a61-6b0f-42d2-a39f-a9a5f08999e4" providerId="ADAL" clId="{C9348547-B843-49F4-9FA0-D5A2F3060976}" dt="2021-09-13T13:49:26.308" v="3509"/>
          <ac:spMkLst>
            <pc:docMk/>
            <pc:sldMk cId="3566377165" sldId="500"/>
            <ac:spMk id="19" creationId="{A045D9D6-72AD-424B-9F7F-74DEF986DBC0}"/>
          </ac:spMkLst>
        </pc:spChg>
        <pc:spChg chg="add mod">
          <ac:chgData name="Ricardo Sérgio Souza e Sousa" userId="b2322a61-6b0f-42d2-a39f-a9a5f08999e4" providerId="ADAL" clId="{C9348547-B843-49F4-9FA0-D5A2F3060976}" dt="2021-09-13T13:57:14.791" v="3761" actId="1036"/>
          <ac:spMkLst>
            <pc:docMk/>
            <pc:sldMk cId="3566377165" sldId="500"/>
            <ac:spMk id="22" creationId="{B1A4C322-D3FE-4C5B-A3EF-0573F42E041D}"/>
          </ac:spMkLst>
        </pc:spChg>
        <pc:spChg chg="add mod">
          <ac:chgData name="Ricardo Sérgio Souza e Sousa" userId="b2322a61-6b0f-42d2-a39f-a9a5f08999e4" providerId="ADAL" clId="{C9348547-B843-49F4-9FA0-D5A2F3060976}" dt="2021-09-13T13:57:14.791" v="3761" actId="1036"/>
          <ac:spMkLst>
            <pc:docMk/>
            <pc:sldMk cId="3566377165" sldId="500"/>
            <ac:spMk id="23" creationId="{4E05A11F-4618-4247-8792-EB07A403069A}"/>
          </ac:spMkLst>
        </pc:spChg>
        <pc:spChg chg="add mod">
          <ac:chgData name="Ricardo Sérgio Souza e Sousa" userId="b2322a61-6b0f-42d2-a39f-a9a5f08999e4" providerId="ADAL" clId="{C9348547-B843-49F4-9FA0-D5A2F3060976}" dt="2021-09-13T13:58:21.789" v="3768" actId="14100"/>
          <ac:spMkLst>
            <pc:docMk/>
            <pc:sldMk cId="3566377165" sldId="500"/>
            <ac:spMk id="25" creationId="{ADC2D684-7578-483C-88CB-E67E8353ABB9}"/>
          </ac:spMkLst>
        </pc:spChg>
        <pc:spChg chg="add mod">
          <ac:chgData name="Ricardo Sérgio Souza e Sousa" userId="b2322a61-6b0f-42d2-a39f-a9a5f08999e4" providerId="ADAL" clId="{C9348547-B843-49F4-9FA0-D5A2F3060976}" dt="2021-09-13T14:01:53.098" v="3874" actId="207"/>
          <ac:spMkLst>
            <pc:docMk/>
            <pc:sldMk cId="3566377165" sldId="500"/>
            <ac:spMk id="27" creationId="{061AFC77-1665-4723-AAFD-3197C327F2FC}"/>
          </ac:spMkLst>
        </pc:spChg>
        <pc:graphicFrameChg chg="add mod ord modVis replST">
          <ac:chgData name="Ricardo Sérgio Souza e Sousa" userId="b2322a61-6b0f-42d2-a39f-a9a5f08999e4" providerId="ADAL" clId="{C9348547-B843-49F4-9FA0-D5A2F3060976}" dt="2021-09-13T13:49:26.323" v="3511"/>
          <ac:graphicFrameMkLst>
            <pc:docMk/>
            <pc:sldMk cId="3566377165" sldId="500"/>
            <ac:graphicFrameMk id="3" creationId="{6798F99B-EA46-4BE3-B636-33E4A75723C6}"/>
          </ac:graphicFrameMkLst>
        </pc:graphicFrameChg>
        <pc:picChg chg="del">
          <ac:chgData name="Ricardo Sérgio Souza e Sousa" userId="b2322a61-6b0f-42d2-a39f-a9a5f08999e4" providerId="ADAL" clId="{C9348547-B843-49F4-9FA0-D5A2F3060976}" dt="2021-09-13T13:46:39.938" v="2943" actId="478"/>
          <ac:picMkLst>
            <pc:docMk/>
            <pc:sldMk cId="3566377165" sldId="500"/>
            <ac:picMk id="11" creationId="{00000000-0000-0000-0000-000000000000}"/>
          </ac:picMkLst>
        </pc:picChg>
        <pc:picChg chg="add mod modCrop">
          <ac:chgData name="Ricardo Sérgio Souza e Sousa" userId="b2322a61-6b0f-42d2-a39f-a9a5f08999e4" providerId="ADAL" clId="{C9348547-B843-49F4-9FA0-D5A2F3060976}" dt="2021-09-13T13:57:14.791" v="3761" actId="1036"/>
          <ac:picMkLst>
            <pc:docMk/>
            <pc:sldMk cId="3566377165" sldId="500"/>
            <ac:picMk id="20" creationId="{FB164448-15FE-449B-8E6B-E8EB180AEF5F}"/>
          </ac:picMkLst>
        </pc:picChg>
        <pc:picChg chg="add del mod modCrop">
          <ac:chgData name="Ricardo Sérgio Souza e Sousa" userId="b2322a61-6b0f-42d2-a39f-a9a5f08999e4" providerId="ADAL" clId="{C9348547-B843-49F4-9FA0-D5A2F3060976}" dt="2021-09-13T13:54:14.094" v="3565" actId="21"/>
          <ac:picMkLst>
            <pc:docMk/>
            <pc:sldMk cId="3566377165" sldId="500"/>
            <ac:picMk id="21" creationId="{7F4204BA-FC42-4A4C-8B73-F1705334F6BD}"/>
          </ac:picMkLst>
        </pc:picChg>
        <pc:picChg chg="add mod">
          <ac:chgData name="Ricardo Sérgio Souza e Sousa" userId="b2322a61-6b0f-42d2-a39f-a9a5f08999e4" providerId="ADAL" clId="{C9348547-B843-49F4-9FA0-D5A2F3060976}" dt="2021-09-13T13:57:14.791" v="3761" actId="1036"/>
          <ac:picMkLst>
            <pc:docMk/>
            <pc:sldMk cId="3566377165" sldId="500"/>
            <ac:picMk id="24" creationId="{49B4E7AC-6C69-4114-A936-C14F0FE4408E}"/>
          </ac:picMkLst>
        </pc:picChg>
        <pc:picChg chg="add del">
          <ac:chgData name="Ricardo Sérgio Souza e Sousa" userId="b2322a61-6b0f-42d2-a39f-a9a5f08999e4" providerId="ADAL" clId="{C9348547-B843-49F4-9FA0-D5A2F3060976}" dt="2021-09-13T13:46:46.956" v="2946" actId="478"/>
          <ac:picMkLst>
            <pc:docMk/>
            <pc:sldMk cId="3566377165" sldId="500"/>
            <ac:picMk id="1026" creationId="{00000000-0000-0000-0000-000000000000}"/>
          </ac:picMkLst>
        </pc:picChg>
      </pc:sldChg>
      <pc:sldChg chg="addSp delSp modSp add del mod modClrScheme chgLayout">
        <pc:chgData name="Ricardo Sérgio Souza e Sousa" userId="b2322a61-6b0f-42d2-a39f-a9a5f08999e4" providerId="ADAL" clId="{C9348547-B843-49F4-9FA0-D5A2F3060976}" dt="2021-09-13T14:01:26.715" v="3868" actId="47"/>
        <pc:sldMkLst>
          <pc:docMk/>
          <pc:sldMk cId="2066270309" sldId="501"/>
        </pc:sldMkLst>
        <pc:spChg chg="add del mod modVis">
          <ac:chgData name="Ricardo Sérgio Souza e Sousa" userId="b2322a61-6b0f-42d2-a39f-a9a5f08999e4" providerId="ADAL" clId="{C9348547-B843-49F4-9FA0-D5A2F3060976}" dt="2021-09-13T13:55:57.143" v="3648"/>
          <ac:spMkLst>
            <pc:docMk/>
            <pc:sldMk cId="2066270309" sldId="501"/>
            <ac:spMk id="2" creationId="{E39499D8-610C-41B1-9655-6B03A068589C}"/>
          </ac:spMkLst>
        </pc:spChg>
        <pc:spChg chg="mod ord">
          <ac:chgData name="Ricardo Sérgio Souza e Sousa" userId="b2322a61-6b0f-42d2-a39f-a9a5f08999e4" providerId="ADAL" clId="{C9348547-B843-49F4-9FA0-D5A2F3060976}" dt="2021-09-13T13:16:39.387" v="2084"/>
          <ac:spMkLst>
            <pc:docMk/>
            <pc:sldMk cId="2066270309" sldId="501"/>
            <ac:spMk id="3" creationId="{00000000-0000-0000-0000-000000000000}"/>
          </ac:spMkLst>
        </pc:spChg>
        <pc:spChg chg="mod ord">
          <ac:chgData name="Ricardo Sérgio Souza e Sousa" userId="b2322a61-6b0f-42d2-a39f-a9a5f08999e4" providerId="ADAL" clId="{C9348547-B843-49F4-9FA0-D5A2F3060976}" dt="2021-09-13T13:56:01.562" v="3710" actId="948"/>
          <ac:spMkLst>
            <pc:docMk/>
            <pc:sldMk cId="2066270309" sldId="501"/>
            <ac:spMk id="4" creationId="{00000000-0000-0000-0000-000000000000}"/>
          </ac:spMkLst>
        </pc:spChg>
        <pc:spChg chg="add del mod modVis">
          <ac:chgData name="Ricardo Sérgio Souza e Sousa" userId="b2322a61-6b0f-42d2-a39f-a9a5f08999e4" providerId="ADAL" clId="{C9348547-B843-49F4-9FA0-D5A2F3060976}" dt="2021-09-13T13:55:59.236" v="3706"/>
          <ac:spMkLst>
            <pc:docMk/>
            <pc:sldMk cId="2066270309" sldId="501"/>
            <ac:spMk id="6" creationId="{C783746A-D161-4D88-AF55-B7E2538F46AA}"/>
          </ac:spMkLst>
        </pc:spChg>
        <pc:spChg chg="add del mod modVis">
          <ac:chgData name="Ricardo Sérgio Souza e Sousa" userId="b2322a61-6b0f-42d2-a39f-a9a5f08999e4" providerId="ADAL" clId="{C9348547-B843-49F4-9FA0-D5A2F3060976}" dt="2021-09-13T13:56:01.577" v="3750"/>
          <ac:spMkLst>
            <pc:docMk/>
            <pc:sldMk cId="2066270309" sldId="501"/>
            <ac:spMk id="7" creationId="{28654A53-5154-411D-BCEA-34B9037459D0}"/>
          </ac:spMkLst>
        </pc:spChg>
        <pc:graphicFrameChg chg="add mod ord modVis replST">
          <ac:chgData name="Ricardo Sérgio Souza e Sousa" userId="b2322a61-6b0f-42d2-a39f-a9a5f08999e4" providerId="ADAL" clId="{C9348547-B843-49F4-9FA0-D5A2F3060976}" dt="2021-09-13T13:56:01.577" v="3752"/>
          <ac:graphicFrameMkLst>
            <pc:docMk/>
            <pc:sldMk cId="2066270309" sldId="501"/>
            <ac:graphicFrameMk id="5" creationId="{601160C2-99B6-4B8E-9840-C3248C22A837}"/>
          </ac:graphicFrameMkLst>
        </pc:graphicFrameChg>
      </pc:sldChg>
      <pc:sldChg chg="modSp add del mod modClrScheme chgLayout">
        <pc:chgData name="Ricardo Sérgio Souza e Sousa" userId="b2322a61-6b0f-42d2-a39f-a9a5f08999e4" providerId="ADAL" clId="{C9348547-B843-49F4-9FA0-D5A2F3060976}" dt="2021-09-13T14:03:28.827" v="3877" actId="47"/>
        <pc:sldMkLst>
          <pc:docMk/>
          <pc:sldMk cId="3682210767" sldId="502"/>
        </pc:sldMkLst>
        <pc:spChg chg="mod ord">
          <ac:chgData name="Ricardo Sérgio Souza e Sousa" userId="b2322a61-6b0f-42d2-a39f-a9a5f08999e4" providerId="ADAL" clId="{C9348547-B843-49F4-9FA0-D5A2F3060976}" dt="2021-09-13T13:16:39.387" v="2084"/>
          <ac:spMkLst>
            <pc:docMk/>
            <pc:sldMk cId="3682210767" sldId="502"/>
            <ac:spMk id="3" creationId="{00000000-0000-0000-0000-000000000000}"/>
          </ac:spMkLst>
        </pc:spChg>
        <pc:spChg chg="mod ord">
          <ac:chgData name="Ricardo Sérgio Souza e Sousa" userId="b2322a61-6b0f-42d2-a39f-a9a5f08999e4" providerId="ADAL" clId="{C9348547-B843-49F4-9FA0-D5A2F3060976}" dt="2021-09-13T13:16:39.387" v="2084"/>
          <ac:spMkLst>
            <pc:docMk/>
            <pc:sldMk cId="3682210767" sldId="502"/>
            <ac:spMk id="4" creationId="{00000000-0000-0000-0000-000000000000}"/>
          </ac:spMkLst>
        </pc:spChg>
      </pc:sldChg>
      <pc:sldChg chg="modSp add del mod modClrScheme chgLayout">
        <pc:chgData name="Ricardo Sérgio Souza e Sousa" userId="b2322a61-6b0f-42d2-a39f-a9a5f08999e4" providerId="ADAL" clId="{C9348547-B843-49F4-9FA0-D5A2F3060976}" dt="2021-09-13T14:03:14.194" v="3876" actId="47"/>
        <pc:sldMkLst>
          <pc:docMk/>
          <pc:sldMk cId="1984776256" sldId="503"/>
        </pc:sldMkLst>
        <pc:spChg chg="mod ord">
          <ac:chgData name="Ricardo Sérgio Souza e Sousa" userId="b2322a61-6b0f-42d2-a39f-a9a5f08999e4" providerId="ADAL" clId="{C9348547-B843-49F4-9FA0-D5A2F3060976}" dt="2021-09-13T13:16:39.387" v="2084"/>
          <ac:spMkLst>
            <pc:docMk/>
            <pc:sldMk cId="1984776256" sldId="503"/>
            <ac:spMk id="4" creationId="{00000000-0000-0000-0000-000000000000}"/>
          </ac:spMkLst>
        </pc:spChg>
      </pc:sldChg>
      <pc:sldChg chg="modSp add mod modClrScheme modAnim chgLayout">
        <pc:chgData name="Ricardo Sérgio Souza e Sousa" userId="b2322a61-6b0f-42d2-a39f-a9a5f08999e4" providerId="ADAL" clId="{C9348547-B843-49F4-9FA0-D5A2F3060976}" dt="2021-09-13T14:05:35.617" v="3923"/>
        <pc:sldMkLst>
          <pc:docMk/>
          <pc:sldMk cId="1658997101" sldId="504"/>
        </pc:sldMkLst>
        <pc:spChg chg="mod ord">
          <ac:chgData name="Ricardo Sérgio Souza e Sousa" userId="b2322a61-6b0f-42d2-a39f-a9a5f08999e4" providerId="ADAL" clId="{C9348547-B843-49F4-9FA0-D5A2F3060976}" dt="2021-09-13T14:04:38.034" v="3899" actId="14100"/>
          <ac:spMkLst>
            <pc:docMk/>
            <pc:sldMk cId="1658997101" sldId="504"/>
            <ac:spMk id="3" creationId="{00000000-0000-0000-0000-000000000000}"/>
          </ac:spMkLst>
        </pc:spChg>
        <pc:spChg chg="mod">
          <ac:chgData name="Ricardo Sérgio Souza e Sousa" userId="b2322a61-6b0f-42d2-a39f-a9a5f08999e4" providerId="ADAL" clId="{C9348547-B843-49F4-9FA0-D5A2F3060976}" dt="2021-09-13T14:03:56.856" v="3882" actId="404"/>
          <ac:spMkLst>
            <pc:docMk/>
            <pc:sldMk cId="1658997101" sldId="504"/>
            <ac:spMk id="6" creationId="{00000000-0000-0000-0000-000000000000}"/>
          </ac:spMkLst>
        </pc:spChg>
      </pc:sldChg>
      <pc:sldChg chg="addSp delSp modSp add mod modClrScheme chgLayout">
        <pc:chgData name="Ricardo Sérgio Souza e Sousa" userId="b2322a61-6b0f-42d2-a39f-a9a5f08999e4" providerId="ADAL" clId="{C9348547-B843-49F4-9FA0-D5A2F3060976}" dt="2021-09-13T14:05:15.972" v="3920" actId="1035"/>
        <pc:sldMkLst>
          <pc:docMk/>
          <pc:sldMk cId="3306047729" sldId="505"/>
        </pc:sldMkLst>
        <pc:spChg chg="mod ord">
          <ac:chgData name="Ricardo Sérgio Souza e Sousa" userId="b2322a61-6b0f-42d2-a39f-a9a5f08999e4" providerId="ADAL" clId="{C9348547-B843-49F4-9FA0-D5A2F3060976}" dt="2021-09-13T14:05:09.113" v="3910" actId="1035"/>
          <ac:spMkLst>
            <pc:docMk/>
            <pc:sldMk cId="3306047729" sldId="505"/>
            <ac:spMk id="3" creationId="{00000000-0000-0000-0000-000000000000}"/>
          </ac:spMkLst>
        </pc:spChg>
        <pc:spChg chg="add mod">
          <ac:chgData name="Ricardo Sérgio Souza e Sousa" userId="b2322a61-6b0f-42d2-a39f-a9a5f08999e4" providerId="ADAL" clId="{C9348547-B843-49F4-9FA0-D5A2F3060976}" dt="2021-09-13T14:04:58.162" v="3902"/>
          <ac:spMkLst>
            <pc:docMk/>
            <pc:sldMk cId="3306047729" sldId="505"/>
            <ac:spMk id="5" creationId="{4AEE9001-908F-46F1-8EAD-C89574AA6CBF}"/>
          </ac:spMkLst>
        </pc:spChg>
        <pc:spChg chg="del mod">
          <ac:chgData name="Ricardo Sérgio Souza e Sousa" userId="b2322a61-6b0f-42d2-a39f-a9a5f08999e4" providerId="ADAL" clId="{C9348547-B843-49F4-9FA0-D5A2F3060976}" dt="2021-09-13T14:04:57.430" v="3901" actId="478"/>
          <ac:spMkLst>
            <pc:docMk/>
            <pc:sldMk cId="3306047729" sldId="505"/>
            <ac:spMk id="6" creationId="{00000000-0000-0000-0000-000000000000}"/>
          </ac:spMkLst>
        </pc:spChg>
        <pc:picChg chg="mod">
          <ac:chgData name="Ricardo Sérgio Souza e Sousa" userId="b2322a61-6b0f-42d2-a39f-a9a5f08999e4" providerId="ADAL" clId="{C9348547-B843-49F4-9FA0-D5A2F3060976}" dt="2021-09-13T14:05:15.972" v="3920" actId="1035"/>
          <ac:picMkLst>
            <pc:docMk/>
            <pc:sldMk cId="3306047729" sldId="505"/>
            <ac:picMk id="2" creationId="{00000000-0000-0000-0000-000000000000}"/>
          </ac:picMkLst>
        </pc:picChg>
      </pc:sldChg>
      <pc:sldChg chg="addSp delSp modSp add mod modClrScheme chgLayout">
        <pc:chgData name="Ricardo Sérgio Souza e Sousa" userId="b2322a61-6b0f-42d2-a39f-a9a5f08999e4" providerId="ADAL" clId="{C9348547-B843-49F4-9FA0-D5A2F3060976}" dt="2021-09-13T14:06:53.354" v="3965"/>
        <pc:sldMkLst>
          <pc:docMk/>
          <pc:sldMk cId="542743496" sldId="506"/>
        </pc:sldMkLst>
        <pc:spChg chg="mod ord">
          <ac:chgData name="Ricardo Sérgio Souza e Sousa" userId="b2322a61-6b0f-42d2-a39f-a9a5f08999e4" providerId="ADAL" clId="{C9348547-B843-49F4-9FA0-D5A2F3060976}" dt="2021-09-13T14:06:14.657" v="3944" actId="1035"/>
          <ac:spMkLst>
            <pc:docMk/>
            <pc:sldMk cId="542743496" sldId="506"/>
            <ac:spMk id="3" creationId="{00000000-0000-0000-0000-000000000000}"/>
          </ac:spMkLst>
        </pc:spChg>
        <pc:spChg chg="del mod ord">
          <ac:chgData name="Ricardo Sérgio Souza e Sousa" userId="b2322a61-6b0f-42d2-a39f-a9a5f08999e4" providerId="ADAL" clId="{C9348547-B843-49F4-9FA0-D5A2F3060976}" dt="2021-09-13T14:06:52.820" v="3948" actId="478"/>
          <ac:spMkLst>
            <pc:docMk/>
            <pc:sldMk cId="542743496" sldId="506"/>
            <ac:spMk id="4" creationId="{00000000-0000-0000-0000-000000000000}"/>
          </ac:spMkLst>
        </pc:spChg>
        <pc:spChg chg="add mod">
          <ac:chgData name="Ricardo Sérgio Souza e Sousa" userId="b2322a61-6b0f-42d2-a39f-a9a5f08999e4" providerId="ADAL" clId="{C9348547-B843-49F4-9FA0-D5A2F3060976}" dt="2021-09-13T14:06:02.395" v="3932" actId="1035"/>
          <ac:spMkLst>
            <pc:docMk/>
            <pc:sldMk cId="542743496" sldId="506"/>
            <ac:spMk id="6" creationId="{27C4A5D4-F465-4074-8654-B550362DFE4C}"/>
          </ac:spMkLst>
        </pc:spChg>
        <pc:graphicFrameChg chg="add mod ord modVis replST">
          <ac:chgData name="Ricardo Sérgio Souza e Sousa" userId="b2322a61-6b0f-42d2-a39f-a9a5f08999e4" providerId="ADAL" clId="{C9348547-B843-49F4-9FA0-D5A2F3060976}" dt="2021-09-13T14:06:53.354" v="3965"/>
          <ac:graphicFrameMkLst>
            <pc:docMk/>
            <pc:sldMk cId="542743496" sldId="506"/>
            <ac:graphicFrameMk id="2" creationId="{65A66E5F-376E-4F39-AE22-270F96BFB4D4}"/>
          </ac:graphicFrameMkLst>
        </pc:graphicFrameChg>
      </pc:sldChg>
      <pc:sldChg chg="addSp delSp modSp add mod modClrScheme chgLayout">
        <pc:chgData name="Ricardo Sérgio Souza e Sousa" userId="b2322a61-6b0f-42d2-a39f-a9a5f08999e4" providerId="ADAL" clId="{C9348547-B843-49F4-9FA0-D5A2F3060976}" dt="2021-09-13T14:09:36.226" v="4067" actId="20577"/>
        <pc:sldMkLst>
          <pc:docMk/>
          <pc:sldMk cId="3325210691" sldId="507"/>
        </pc:sldMkLst>
        <pc:spChg chg="mod ord">
          <ac:chgData name="Ricardo Sérgio Souza e Sousa" userId="b2322a61-6b0f-42d2-a39f-a9a5f08999e4" providerId="ADAL" clId="{C9348547-B843-49F4-9FA0-D5A2F3060976}" dt="2021-09-13T14:09:36.226" v="4067" actId="20577"/>
          <ac:spMkLst>
            <pc:docMk/>
            <pc:sldMk cId="3325210691" sldId="507"/>
            <ac:spMk id="3" creationId="{00000000-0000-0000-0000-000000000000}"/>
          </ac:spMkLst>
        </pc:spChg>
        <pc:spChg chg="del mod ord">
          <ac:chgData name="Ricardo Sérgio Souza e Sousa" userId="b2322a61-6b0f-42d2-a39f-a9a5f08999e4" providerId="ADAL" clId="{C9348547-B843-49F4-9FA0-D5A2F3060976}" dt="2021-09-13T14:07:11.458" v="3966" actId="478"/>
          <ac:spMkLst>
            <pc:docMk/>
            <pc:sldMk cId="3325210691" sldId="507"/>
            <ac:spMk id="4" creationId="{00000000-0000-0000-0000-000000000000}"/>
          </ac:spMkLst>
        </pc:spChg>
        <pc:spChg chg="add mod">
          <ac:chgData name="Ricardo Sérgio Souza e Sousa" userId="b2322a61-6b0f-42d2-a39f-a9a5f08999e4" providerId="ADAL" clId="{C9348547-B843-49F4-9FA0-D5A2F3060976}" dt="2021-09-13T14:07:12.476" v="3984"/>
          <ac:spMkLst>
            <pc:docMk/>
            <pc:sldMk cId="3325210691" sldId="507"/>
            <ac:spMk id="6" creationId="{70F65A73-AF1B-44A6-AFCC-900FA1543B33}"/>
          </ac:spMkLst>
        </pc:spChg>
        <pc:graphicFrameChg chg="add mod ord modVis replST">
          <ac:chgData name="Ricardo Sérgio Souza e Sousa" userId="b2322a61-6b0f-42d2-a39f-a9a5f08999e4" providerId="ADAL" clId="{C9348547-B843-49F4-9FA0-D5A2F3060976}" dt="2021-09-13T14:07:11.990" v="3983"/>
          <ac:graphicFrameMkLst>
            <pc:docMk/>
            <pc:sldMk cId="3325210691" sldId="507"/>
            <ac:graphicFrameMk id="5" creationId="{07D0889A-9E3A-492F-A9AD-4495CACC3D39}"/>
          </ac:graphicFrameMkLst>
        </pc:graphicFrameChg>
        <pc:picChg chg="del">
          <ac:chgData name="Ricardo Sérgio Souza e Sousa" userId="b2322a61-6b0f-42d2-a39f-a9a5f08999e4" providerId="ADAL" clId="{C9348547-B843-49F4-9FA0-D5A2F3060976}" dt="2021-09-13T14:08:01.354" v="4045" actId="478"/>
          <ac:picMkLst>
            <pc:docMk/>
            <pc:sldMk cId="3325210691" sldId="507"/>
            <ac:picMk id="2" creationId="{00000000-0000-0000-0000-000000000000}"/>
          </ac:picMkLst>
        </pc:picChg>
        <pc:picChg chg="add mod">
          <ac:chgData name="Ricardo Sérgio Souza e Sousa" userId="b2322a61-6b0f-42d2-a39f-a9a5f08999e4" providerId="ADAL" clId="{C9348547-B843-49F4-9FA0-D5A2F3060976}" dt="2021-09-13T14:08:59.201" v="4049" actId="1076"/>
          <ac:picMkLst>
            <pc:docMk/>
            <pc:sldMk cId="3325210691" sldId="507"/>
            <ac:picMk id="7" creationId="{47081F09-5139-4421-A219-6C2945B9D88F}"/>
          </ac:picMkLst>
        </pc:picChg>
        <pc:picChg chg="add del">
          <ac:chgData name="Ricardo Sérgio Souza e Sousa" userId="b2322a61-6b0f-42d2-a39f-a9a5f08999e4" providerId="ADAL" clId="{C9348547-B843-49F4-9FA0-D5A2F3060976}" dt="2021-09-13T14:08:54.683" v="4047"/>
          <ac:picMkLst>
            <pc:docMk/>
            <pc:sldMk cId="3325210691" sldId="507"/>
            <ac:picMk id="1026" creationId="{EEF2EF1B-AB0D-4E2C-B11C-6A98D40B1F53}"/>
          </ac:picMkLst>
        </pc:picChg>
      </pc:sldChg>
      <pc:sldChg chg="addSp delSp modSp add mod modClrScheme chgLayout">
        <pc:chgData name="Ricardo Sérgio Souza e Sousa" userId="b2322a61-6b0f-42d2-a39f-a9a5f08999e4" providerId="ADAL" clId="{C9348547-B843-49F4-9FA0-D5A2F3060976}" dt="2021-09-13T14:15:28.294" v="4190" actId="1076"/>
        <pc:sldMkLst>
          <pc:docMk/>
          <pc:sldMk cId="1380686034" sldId="508"/>
        </pc:sldMkLst>
        <pc:spChg chg="mod ord">
          <ac:chgData name="Ricardo Sérgio Souza e Sousa" userId="b2322a61-6b0f-42d2-a39f-a9a5f08999e4" providerId="ADAL" clId="{C9348547-B843-49F4-9FA0-D5A2F3060976}" dt="2021-09-13T14:11:45.851" v="4183" actId="20577"/>
          <ac:spMkLst>
            <pc:docMk/>
            <pc:sldMk cId="1380686034" sldId="508"/>
            <ac:spMk id="3" creationId="{00000000-0000-0000-0000-000000000000}"/>
          </ac:spMkLst>
        </pc:spChg>
        <pc:spChg chg="del mod ord">
          <ac:chgData name="Ricardo Sérgio Souza e Sousa" userId="b2322a61-6b0f-42d2-a39f-a9a5f08999e4" providerId="ADAL" clId="{C9348547-B843-49F4-9FA0-D5A2F3060976}" dt="2021-09-13T14:09:46.475" v="4072" actId="478"/>
          <ac:spMkLst>
            <pc:docMk/>
            <pc:sldMk cId="1380686034" sldId="508"/>
            <ac:spMk id="4" creationId="{00000000-0000-0000-0000-000000000000}"/>
          </ac:spMkLst>
        </pc:spChg>
        <pc:spChg chg="add mod">
          <ac:chgData name="Ricardo Sérgio Souza e Sousa" userId="b2322a61-6b0f-42d2-a39f-a9a5f08999e4" providerId="ADAL" clId="{C9348547-B843-49F4-9FA0-D5A2F3060976}" dt="2021-09-13T14:12:04.245" v="4186" actId="20577"/>
          <ac:spMkLst>
            <pc:docMk/>
            <pc:sldMk cId="1380686034" sldId="508"/>
            <ac:spMk id="6" creationId="{4591A4DE-1535-4599-A894-3DAA11784443}"/>
          </ac:spMkLst>
        </pc:spChg>
        <pc:graphicFrameChg chg="add mod ord modVis replST">
          <ac:chgData name="Ricardo Sérgio Souza e Sousa" userId="b2322a61-6b0f-42d2-a39f-a9a5f08999e4" providerId="ADAL" clId="{C9348547-B843-49F4-9FA0-D5A2F3060976}" dt="2021-09-13T14:09:46.993" v="4089"/>
          <ac:graphicFrameMkLst>
            <pc:docMk/>
            <pc:sldMk cId="1380686034" sldId="508"/>
            <ac:graphicFrameMk id="2" creationId="{34CCA6F3-9A2F-4DDF-86CF-6DEB268B8E2D}"/>
          </ac:graphicFrameMkLst>
        </pc:graphicFrameChg>
        <pc:picChg chg="del">
          <ac:chgData name="Ricardo Sérgio Souza e Sousa" userId="b2322a61-6b0f-42d2-a39f-a9a5f08999e4" providerId="ADAL" clId="{C9348547-B843-49F4-9FA0-D5A2F3060976}" dt="2021-09-13T14:12:07.405" v="4187" actId="478"/>
          <ac:picMkLst>
            <pc:docMk/>
            <pc:sldMk cId="1380686034" sldId="508"/>
            <ac:picMk id="5" creationId="{00000000-0000-0000-0000-000000000000}"/>
          </ac:picMkLst>
        </pc:picChg>
        <pc:picChg chg="add mod">
          <ac:chgData name="Ricardo Sérgio Souza e Sousa" userId="b2322a61-6b0f-42d2-a39f-a9a5f08999e4" providerId="ADAL" clId="{C9348547-B843-49F4-9FA0-D5A2F3060976}" dt="2021-09-13T14:15:28.294" v="4190" actId="1076"/>
          <ac:picMkLst>
            <pc:docMk/>
            <pc:sldMk cId="1380686034" sldId="508"/>
            <ac:picMk id="7" creationId="{78D1F6ED-51CF-4EC4-920F-A71638B0DC38}"/>
          </ac:picMkLst>
        </pc:picChg>
      </pc:sldChg>
      <pc:sldChg chg="addSp delSp modSp add mod modClrScheme chgLayout">
        <pc:chgData name="Ricardo Sérgio Souza e Sousa" userId="b2322a61-6b0f-42d2-a39f-a9a5f08999e4" providerId="ADAL" clId="{C9348547-B843-49F4-9FA0-D5A2F3060976}" dt="2021-09-13T14:15:56.558" v="4381" actId="1076"/>
        <pc:sldMkLst>
          <pc:docMk/>
          <pc:sldMk cId="476993152" sldId="509"/>
        </pc:sldMkLst>
        <pc:spChg chg="add del mod modVis">
          <ac:chgData name="Ricardo Sérgio Souza e Sousa" userId="b2322a61-6b0f-42d2-a39f-a9a5f08999e4" providerId="ADAL" clId="{C9348547-B843-49F4-9FA0-D5A2F3060976}" dt="2021-09-13T14:15:41.884" v="4232"/>
          <ac:spMkLst>
            <pc:docMk/>
            <pc:sldMk cId="476993152" sldId="509"/>
            <ac:spMk id="2" creationId="{AD68E555-1D16-4EFB-BFDE-F539955B7F75}"/>
          </ac:spMkLst>
        </pc:spChg>
        <pc:spChg chg="mod ord">
          <ac:chgData name="Ricardo Sérgio Souza e Sousa" userId="b2322a61-6b0f-42d2-a39f-a9a5f08999e4" providerId="ADAL" clId="{C9348547-B843-49F4-9FA0-D5A2F3060976}" dt="2021-09-13T14:15:49.809" v="4338" actId="948"/>
          <ac:spMkLst>
            <pc:docMk/>
            <pc:sldMk cId="476993152" sldId="509"/>
            <ac:spMk id="4" creationId="{00000000-0000-0000-0000-000000000000}"/>
          </ac:spMkLst>
        </pc:spChg>
        <pc:spChg chg="mod">
          <ac:chgData name="Ricardo Sérgio Souza e Sousa" userId="b2322a61-6b0f-42d2-a39f-a9a5f08999e4" providerId="ADAL" clId="{C9348547-B843-49F4-9FA0-D5A2F3060976}" dt="2021-09-13T14:15:56.558" v="4381" actId="1076"/>
          <ac:spMkLst>
            <pc:docMk/>
            <pc:sldMk cId="476993152" sldId="509"/>
            <ac:spMk id="5" creationId="{00000000-0000-0000-0000-000000000000}"/>
          </ac:spMkLst>
        </pc:spChg>
        <pc:spChg chg="add del mod modVis">
          <ac:chgData name="Ricardo Sérgio Souza e Sousa" userId="b2322a61-6b0f-42d2-a39f-a9a5f08999e4" providerId="ADAL" clId="{C9348547-B843-49F4-9FA0-D5A2F3060976}" dt="2021-09-13T14:15:43.727" v="4290"/>
          <ac:spMkLst>
            <pc:docMk/>
            <pc:sldMk cId="476993152" sldId="509"/>
            <ac:spMk id="6" creationId="{D213233A-ED3C-4103-BDF5-4200412EA742}"/>
          </ac:spMkLst>
        </pc:spChg>
        <pc:spChg chg="add del mod modVis">
          <ac:chgData name="Ricardo Sérgio Souza e Sousa" userId="b2322a61-6b0f-42d2-a39f-a9a5f08999e4" providerId="ADAL" clId="{C9348547-B843-49F4-9FA0-D5A2F3060976}" dt="2021-09-13T14:15:47.275" v="4334"/>
          <ac:spMkLst>
            <pc:docMk/>
            <pc:sldMk cId="476993152" sldId="509"/>
            <ac:spMk id="7" creationId="{6BB184A9-9145-4A7D-A4DB-96D7BC62C56A}"/>
          </ac:spMkLst>
        </pc:spChg>
        <pc:spChg chg="add del mod modVis">
          <ac:chgData name="Ricardo Sérgio Souza e Sousa" userId="b2322a61-6b0f-42d2-a39f-a9a5f08999e4" providerId="ADAL" clId="{C9348547-B843-49F4-9FA0-D5A2F3060976}" dt="2021-09-13T14:15:49.840" v="4378"/>
          <ac:spMkLst>
            <pc:docMk/>
            <pc:sldMk cId="476993152" sldId="509"/>
            <ac:spMk id="8" creationId="{C4E6ADF2-4F58-4B02-AD70-A5A2B9C3EEFC}"/>
          </ac:spMkLst>
        </pc:spChg>
        <pc:graphicFrameChg chg="add mod ord modVis replST">
          <ac:chgData name="Ricardo Sérgio Souza e Sousa" userId="b2322a61-6b0f-42d2-a39f-a9a5f08999e4" providerId="ADAL" clId="{C9348547-B843-49F4-9FA0-D5A2F3060976}" dt="2021-09-13T14:15:49.840" v="4380"/>
          <ac:graphicFrameMkLst>
            <pc:docMk/>
            <pc:sldMk cId="476993152" sldId="509"/>
            <ac:graphicFrameMk id="3" creationId="{5835A4CE-925C-481F-BFA0-CAB876B78D4A}"/>
          </ac:graphicFrameMkLst>
        </pc:graphicFrameChg>
      </pc:sldChg>
      <pc:sldChg chg="addSp delSp modSp add mod modClrScheme chgLayout">
        <pc:chgData name="Ricardo Sérgio Souza e Sousa" userId="b2322a61-6b0f-42d2-a39f-a9a5f08999e4" providerId="ADAL" clId="{C9348547-B843-49F4-9FA0-D5A2F3060976}" dt="2021-09-13T14:16:13.005" v="4400"/>
        <pc:sldMkLst>
          <pc:docMk/>
          <pc:sldMk cId="1022195537" sldId="510"/>
        </pc:sldMkLst>
        <pc:spChg chg="del mod ord">
          <ac:chgData name="Ricardo Sérgio Souza e Sousa" userId="b2322a61-6b0f-42d2-a39f-a9a5f08999e4" providerId="ADAL" clId="{C9348547-B843-49F4-9FA0-D5A2F3060976}" dt="2021-09-13T14:16:11.831" v="4382" actId="478"/>
          <ac:spMkLst>
            <pc:docMk/>
            <pc:sldMk cId="1022195537" sldId="510"/>
            <ac:spMk id="4" creationId="{00000000-0000-0000-0000-000000000000}"/>
          </ac:spMkLst>
        </pc:spChg>
        <pc:spChg chg="add mod">
          <ac:chgData name="Ricardo Sérgio Souza e Sousa" userId="b2322a61-6b0f-42d2-a39f-a9a5f08999e4" providerId="ADAL" clId="{C9348547-B843-49F4-9FA0-D5A2F3060976}" dt="2021-09-13T14:16:13.005" v="4400"/>
          <ac:spMkLst>
            <pc:docMk/>
            <pc:sldMk cId="1022195537" sldId="510"/>
            <ac:spMk id="7" creationId="{2ACA4D2A-9208-4616-9698-09FB6E9535E5}"/>
          </ac:spMkLst>
        </pc:spChg>
        <pc:graphicFrameChg chg="add mod ord modVis replST">
          <ac:chgData name="Ricardo Sérgio Souza e Sousa" userId="b2322a61-6b0f-42d2-a39f-a9a5f08999e4" providerId="ADAL" clId="{C9348547-B843-49F4-9FA0-D5A2F3060976}" dt="2021-09-13T14:16:12.380" v="4399"/>
          <ac:graphicFrameMkLst>
            <pc:docMk/>
            <pc:sldMk cId="1022195537" sldId="510"/>
            <ac:graphicFrameMk id="2" creationId="{64738D62-7C83-4EAD-A7E5-89A0C9DF9AAF}"/>
          </ac:graphicFrameMkLst>
        </pc:graphicFrameChg>
      </pc:sldChg>
      <pc:sldChg chg="addSp delSp modSp add mod modClrScheme chgLayout">
        <pc:chgData name="Ricardo Sérgio Souza e Sousa" userId="b2322a61-6b0f-42d2-a39f-a9a5f08999e4" providerId="ADAL" clId="{C9348547-B843-49F4-9FA0-D5A2F3060976}" dt="2021-09-13T14:17:09.363" v="4435" actId="1076"/>
        <pc:sldMkLst>
          <pc:docMk/>
          <pc:sldMk cId="3740257845" sldId="511"/>
        </pc:sldMkLst>
        <pc:spChg chg="mod ord">
          <ac:chgData name="Ricardo Sérgio Souza e Sousa" userId="b2322a61-6b0f-42d2-a39f-a9a5f08999e4" providerId="ADAL" clId="{C9348547-B843-49F4-9FA0-D5A2F3060976}" dt="2021-09-13T14:17:03.969" v="4434" actId="122"/>
          <ac:spMkLst>
            <pc:docMk/>
            <pc:sldMk cId="3740257845" sldId="511"/>
            <ac:spMk id="3" creationId="{00000000-0000-0000-0000-000000000000}"/>
          </ac:spMkLst>
        </pc:spChg>
        <pc:spChg chg="del mod ord">
          <ac:chgData name="Ricardo Sérgio Souza e Sousa" userId="b2322a61-6b0f-42d2-a39f-a9a5f08999e4" providerId="ADAL" clId="{C9348547-B843-49F4-9FA0-D5A2F3060976}" dt="2021-09-13T14:16:16.934" v="4401" actId="478"/>
          <ac:spMkLst>
            <pc:docMk/>
            <pc:sldMk cId="3740257845" sldId="511"/>
            <ac:spMk id="4" creationId="{00000000-0000-0000-0000-000000000000}"/>
          </ac:spMkLst>
        </pc:spChg>
        <pc:spChg chg="add mod">
          <ac:chgData name="Ricardo Sérgio Souza e Sousa" userId="b2322a61-6b0f-42d2-a39f-a9a5f08999e4" providerId="ADAL" clId="{C9348547-B843-49F4-9FA0-D5A2F3060976}" dt="2021-09-13T14:16:17.752" v="4419"/>
          <ac:spMkLst>
            <pc:docMk/>
            <pc:sldMk cId="3740257845" sldId="511"/>
            <ac:spMk id="6" creationId="{64E88266-AC2D-4518-BFF4-0AF3EB5F64D1}"/>
          </ac:spMkLst>
        </pc:spChg>
        <pc:graphicFrameChg chg="add mod ord modVis replST">
          <ac:chgData name="Ricardo Sérgio Souza e Sousa" userId="b2322a61-6b0f-42d2-a39f-a9a5f08999e4" providerId="ADAL" clId="{C9348547-B843-49F4-9FA0-D5A2F3060976}" dt="2021-09-13T14:16:17.567" v="4418"/>
          <ac:graphicFrameMkLst>
            <pc:docMk/>
            <pc:sldMk cId="3740257845" sldId="511"/>
            <ac:graphicFrameMk id="2" creationId="{921464D5-8A0C-4AE2-91AD-AC6D4D90FEB2}"/>
          </ac:graphicFrameMkLst>
        </pc:graphicFrameChg>
        <pc:picChg chg="mod">
          <ac:chgData name="Ricardo Sérgio Souza e Sousa" userId="b2322a61-6b0f-42d2-a39f-a9a5f08999e4" providerId="ADAL" clId="{C9348547-B843-49F4-9FA0-D5A2F3060976}" dt="2021-09-13T14:17:09.363" v="4435" actId="1076"/>
          <ac:picMkLst>
            <pc:docMk/>
            <pc:sldMk cId="3740257845" sldId="511"/>
            <ac:picMk id="9" creationId="{00000000-0000-0000-0000-000000000000}"/>
          </ac:picMkLst>
        </pc:picChg>
      </pc:sldChg>
      <pc:sldChg chg="addSp delSp modSp add mod modClrScheme chgLayout">
        <pc:chgData name="Ricardo Sérgio Souza e Sousa" userId="b2322a61-6b0f-42d2-a39f-a9a5f08999e4" providerId="ADAL" clId="{C9348547-B843-49F4-9FA0-D5A2F3060976}" dt="2021-09-13T14:17:44.711" v="4625"/>
        <pc:sldMkLst>
          <pc:docMk/>
          <pc:sldMk cId="3909939540" sldId="512"/>
        </pc:sldMkLst>
        <pc:spChg chg="add del mod modVis">
          <ac:chgData name="Ricardo Sérgio Souza e Sousa" userId="b2322a61-6b0f-42d2-a39f-a9a5f08999e4" providerId="ADAL" clId="{C9348547-B843-49F4-9FA0-D5A2F3060976}" dt="2021-09-13T14:17:36.673" v="4477"/>
          <ac:spMkLst>
            <pc:docMk/>
            <pc:sldMk cId="3909939540" sldId="512"/>
            <ac:spMk id="3" creationId="{0C22B1CC-D5EB-4719-B767-F2E2B6B36D40}"/>
          </ac:spMkLst>
        </pc:spChg>
        <pc:spChg chg="mod ord">
          <ac:chgData name="Ricardo Sérgio Souza e Sousa" userId="b2322a61-6b0f-42d2-a39f-a9a5f08999e4" providerId="ADAL" clId="{C9348547-B843-49F4-9FA0-D5A2F3060976}" dt="2021-09-13T14:17:44.672" v="4583" actId="948"/>
          <ac:spMkLst>
            <pc:docMk/>
            <pc:sldMk cId="3909939540" sldId="512"/>
            <ac:spMk id="4" creationId="{00000000-0000-0000-0000-000000000000}"/>
          </ac:spMkLst>
        </pc:spChg>
        <pc:spChg chg="add del mod modVis">
          <ac:chgData name="Ricardo Sérgio Souza e Sousa" userId="b2322a61-6b0f-42d2-a39f-a9a5f08999e4" providerId="ADAL" clId="{C9348547-B843-49F4-9FA0-D5A2F3060976}" dt="2021-09-13T14:17:39.972" v="4535"/>
          <ac:spMkLst>
            <pc:docMk/>
            <pc:sldMk cId="3909939540" sldId="512"/>
            <ac:spMk id="7" creationId="{BEAFFD43-0AF1-40E6-A514-F50B20817E58}"/>
          </ac:spMkLst>
        </pc:spChg>
        <pc:spChg chg="add del mod modVis">
          <ac:chgData name="Ricardo Sérgio Souza e Sousa" userId="b2322a61-6b0f-42d2-a39f-a9a5f08999e4" providerId="ADAL" clId="{C9348547-B843-49F4-9FA0-D5A2F3060976}" dt="2021-09-13T14:17:41.755" v="4579"/>
          <ac:spMkLst>
            <pc:docMk/>
            <pc:sldMk cId="3909939540" sldId="512"/>
            <ac:spMk id="8" creationId="{AD0C56D4-F0C4-4329-ABFF-C071B01BE29C}"/>
          </ac:spMkLst>
        </pc:spChg>
        <pc:spChg chg="add del mod modVis">
          <ac:chgData name="Ricardo Sérgio Souza e Sousa" userId="b2322a61-6b0f-42d2-a39f-a9a5f08999e4" providerId="ADAL" clId="{C9348547-B843-49F4-9FA0-D5A2F3060976}" dt="2021-09-13T14:17:44.711" v="4623"/>
          <ac:spMkLst>
            <pc:docMk/>
            <pc:sldMk cId="3909939540" sldId="512"/>
            <ac:spMk id="9" creationId="{EDAD9705-8E4C-4707-8A1B-66D1DBC0F9BF}"/>
          </ac:spMkLst>
        </pc:spChg>
        <pc:graphicFrameChg chg="add mod ord modVis replST">
          <ac:chgData name="Ricardo Sérgio Souza e Sousa" userId="b2322a61-6b0f-42d2-a39f-a9a5f08999e4" providerId="ADAL" clId="{C9348547-B843-49F4-9FA0-D5A2F3060976}" dt="2021-09-13T14:17:44.711" v="4625"/>
          <ac:graphicFrameMkLst>
            <pc:docMk/>
            <pc:sldMk cId="3909939540" sldId="512"/>
            <ac:graphicFrameMk id="5" creationId="{C8C41737-AA8C-494F-B2EC-5E49E873840B}"/>
          </ac:graphicFrameMkLst>
        </pc:graphicFrameChg>
      </pc:sldChg>
      <pc:sldChg chg="delSp modSp add del mod ord modClrScheme chgLayout">
        <pc:chgData name="Ricardo Sérgio Souza e Sousa" userId="b2322a61-6b0f-42d2-a39f-a9a5f08999e4" providerId="ADAL" clId="{C9348547-B843-49F4-9FA0-D5A2F3060976}" dt="2021-09-13T14:26:40.770" v="4985" actId="47"/>
        <pc:sldMkLst>
          <pc:docMk/>
          <pc:sldMk cId="59383797" sldId="513"/>
        </pc:sldMkLst>
        <pc:spChg chg="mod">
          <ac:chgData name="Ricardo Sérgio Souza e Sousa" userId="b2322a61-6b0f-42d2-a39f-a9a5f08999e4" providerId="ADAL" clId="{C9348547-B843-49F4-9FA0-D5A2F3060976}" dt="2021-09-13T14:18:45.449" v="4634" actId="20577"/>
          <ac:spMkLst>
            <pc:docMk/>
            <pc:sldMk cId="59383797" sldId="513"/>
            <ac:spMk id="3" creationId="{00000000-0000-0000-0000-000000000000}"/>
          </ac:spMkLst>
        </pc:spChg>
        <pc:spChg chg="mod ord">
          <ac:chgData name="Ricardo Sérgio Souza e Sousa" userId="b2322a61-6b0f-42d2-a39f-a9a5f08999e4" providerId="ADAL" clId="{C9348547-B843-49F4-9FA0-D5A2F3060976}" dt="2021-09-13T13:16:39.387" v="2084"/>
          <ac:spMkLst>
            <pc:docMk/>
            <pc:sldMk cId="59383797" sldId="513"/>
            <ac:spMk id="4" creationId="{00000000-0000-0000-0000-000000000000}"/>
          </ac:spMkLst>
        </pc:spChg>
        <pc:picChg chg="del">
          <ac:chgData name="Ricardo Sérgio Souza e Sousa" userId="b2322a61-6b0f-42d2-a39f-a9a5f08999e4" providerId="ADAL" clId="{C9348547-B843-49F4-9FA0-D5A2F3060976}" dt="2021-09-13T14:18:47.523" v="4635" actId="478"/>
          <ac:picMkLst>
            <pc:docMk/>
            <pc:sldMk cId="59383797" sldId="513"/>
            <ac:picMk id="8" creationId="{00000000-0000-0000-0000-000000000000}"/>
          </ac:picMkLst>
        </pc:picChg>
      </pc:sldChg>
      <pc:sldChg chg="add">
        <pc:chgData name="Ricardo Sérgio Souza e Sousa" userId="b2322a61-6b0f-42d2-a39f-a9a5f08999e4" providerId="ADAL" clId="{C9348547-B843-49F4-9FA0-D5A2F3060976}" dt="2021-09-13T14:24:37.207" v="4891"/>
        <pc:sldMkLst>
          <pc:docMk/>
          <pc:sldMk cId="109508811" sldId="514"/>
        </pc:sldMkLst>
      </pc:sldChg>
      <pc:sldChg chg="modSp add del mod modClrScheme chgLayout">
        <pc:chgData name="Ricardo Sérgio Souza e Sousa" userId="b2322a61-6b0f-42d2-a39f-a9a5f08999e4" providerId="ADAL" clId="{C9348547-B843-49F4-9FA0-D5A2F3060976}" dt="2021-09-13T14:19:27.669" v="4637" actId="47"/>
        <pc:sldMkLst>
          <pc:docMk/>
          <pc:sldMk cId="1408024782" sldId="514"/>
        </pc:sldMkLst>
        <pc:spChg chg="mod ord">
          <ac:chgData name="Ricardo Sérgio Souza e Sousa" userId="b2322a61-6b0f-42d2-a39f-a9a5f08999e4" providerId="ADAL" clId="{C9348547-B843-49F4-9FA0-D5A2F3060976}" dt="2021-09-13T13:16:39.387" v="2084"/>
          <ac:spMkLst>
            <pc:docMk/>
            <pc:sldMk cId="1408024782" sldId="514"/>
            <ac:spMk id="5" creationId="{00000000-0000-0000-0000-000000000000}"/>
          </ac:spMkLst>
        </pc:spChg>
      </pc:sldChg>
      <pc:sldChg chg="addSp delSp modSp add mod">
        <pc:chgData name="Ricardo Sérgio Souza e Sousa" userId="b2322a61-6b0f-42d2-a39f-a9a5f08999e4" providerId="ADAL" clId="{C9348547-B843-49F4-9FA0-D5A2F3060976}" dt="2021-09-13T14:26:23.086" v="4981" actId="20577"/>
        <pc:sldMkLst>
          <pc:docMk/>
          <pc:sldMk cId="1887842462" sldId="515"/>
        </pc:sldMkLst>
        <pc:spChg chg="mod">
          <ac:chgData name="Ricardo Sérgio Souza e Sousa" userId="b2322a61-6b0f-42d2-a39f-a9a5f08999e4" providerId="ADAL" clId="{C9348547-B843-49F4-9FA0-D5A2F3060976}" dt="2021-09-13T14:24:54.903" v="4894" actId="6549"/>
          <ac:spMkLst>
            <pc:docMk/>
            <pc:sldMk cId="1887842462" sldId="515"/>
            <ac:spMk id="2" creationId="{00000000-0000-0000-0000-000000000000}"/>
          </ac:spMkLst>
        </pc:spChg>
        <pc:spChg chg="add mod">
          <ac:chgData name="Ricardo Sérgio Souza e Sousa" userId="b2322a61-6b0f-42d2-a39f-a9a5f08999e4" providerId="ADAL" clId="{C9348547-B843-49F4-9FA0-D5A2F3060976}" dt="2021-09-13T14:26:23.086" v="4981" actId="20577"/>
          <ac:spMkLst>
            <pc:docMk/>
            <pc:sldMk cId="1887842462" sldId="515"/>
            <ac:spMk id="10" creationId="{F1E28B5F-1A64-4AB5-9EDE-20F218868CF3}"/>
          </ac:spMkLst>
        </pc:spChg>
        <pc:picChg chg="del">
          <ac:chgData name="Ricardo Sérgio Souza e Sousa" userId="b2322a61-6b0f-42d2-a39f-a9a5f08999e4" providerId="ADAL" clId="{C9348547-B843-49F4-9FA0-D5A2F3060976}" dt="2021-09-13T14:24:57.235" v="4895" actId="478"/>
          <ac:picMkLst>
            <pc:docMk/>
            <pc:sldMk cId="1887842462" sldId="515"/>
            <ac:picMk id="4" creationId="{4F672C2A-57BD-4192-8F5E-642D875B32D4}"/>
          </ac:picMkLst>
        </pc:picChg>
        <pc:picChg chg="mod">
          <ac:chgData name="Ricardo Sérgio Souza e Sousa" userId="b2322a61-6b0f-42d2-a39f-a9a5f08999e4" providerId="ADAL" clId="{C9348547-B843-49F4-9FA0-D5A2F3060976}" dt="2021-09-13T14:25:08.062" v="4897" actId="1076"/>
          <ac:picMkLst>
            <pc:docMk/>
            <pc:sldMk cId="1887842462" sldId="515"/>
            <ac:picMk id="29" creationId="{BBF5E892-3F63-40B6-BB11-D2DA69BD5174}"/>
          </ac:picMkLst>
        </pc:picChg>
      </pc:sldChg>
      <pc:sldChg chg="modSp add del mod modClrScheme chgLayout">
        <pc:chgData name="Ricardo Sérgio Souza e Sousa" userId="b2322a61-6b0f-42d2-a39f-a9a5f08999e4" providerId="ADAL" clId="{C9348547-B843-49F4-9FA0-D5A2F3060976}" dt="2021-09-13T14:19:34.127" v="4638" actId="47"/>
        <pc:sldMkLst>
          <pc:docMk/>
          <pc:sldMk cId="3125454840" sldId="515"/>
        </pc:sldMkLst>
        <pc:spChg chg="mod ord">
          <ac:chgData name="Ricardo Sérgio Souza e Sousa" userId="b2322a61-6b0f-42d2-a39f-a9a5f08999e4" providerId="ADAL" clId="{C9348547-B843-49F4-9FA0-D5A2F3060976}" dt="2021-09-13T13:16:39.387" v="2084"/>
          <ac:spMkLst>
            <pc:docMk/>
            <pc:sldMk cId="3125454840" sldId="515"/>
            <ac:spMk id="5" creationId="{00000000-0000-0000-0000-000000000000}"/>
          </ac:spMkLst>
        </pc:spChg>
      </pc:sldChg>
      <pc:sldChg chg="delSp modSp add mod">
        <pc:chgData name="Ricardo Sérgio Souza e Sousa" userId="b2322a61-6b0f-42d2-a39f-a9a5f08999e4" providerId="ADAL" clId="{C9348547-B843-49F4-9FA0-D5A2F3060976}" dt="2021-09-13T14:29:16.155" v="5082" actId="6549"/>
        <pc:sldMkLst>
          <pc:docMk/>
          <pc:sldMk cId="3596548809" sldId="516"/>
        </pc:sldMkLst>
        <pc:spChg chg="mod">
          <ac:chgData name="Ricardo Sérgio Souza e Sousa" userId="b2322a61-6b0f-42d2-a39f-a9a5f08999e4" providerId="ADAL" clId="{C9348547-B843-49F4-9FA0-D5A2F3060976}" dt="2021-09-13T14:29:16.155" v="5082" actId="6549"/>
          <ac:spMkLst>
            <pc:docMk/>
            <pc:sldMk cId="3596548809" sldId="516"/>
            <ac:spMk id="2" creationId="{00000000-0000-0000-0000-000000000000}"/>
          </ac:spMkLst>
        </pc:spChg>
        <pc:picChg chg="del">
          <ac:chgData name="Ricardo Sérgio Souza e Sousa" userId="b2322a61-6b0f-42d2-a39f-a9a5f08999e4" providerId="ADAL" clId="{C9348547-B843-49F4-9FA0-D5A2F3060976}" dt="2021-09-13T14:29:12.807" v="5081" actId="478"/>
          <ac:picMkLst>
            <pc:docMk/>
            <pc:sldMk cId="3596548809" sldId="516"/>
            <ac:picMk id="4" creationId="{4F672C2A-57BD-4192-8F5E-642D875B32D4}"/>
          </ac:picMkLst>
        </pc:picChg>
      </pc:sldChg>
      <pc:sldChg chg="add">
        <pc:chgData name="Ricardo Sérgio Souza e Sousa" userId="b2322a61-6b0f-42d2-a39f-a9a5f08999e4" providerId="ADAL" clId="{C9348547-B843-49F4-9FA0-D5A2F3060976}" dt="2021-09-13T14:37:49.909" v="5086"/>
        <pc:sldMkLst>
          <pc:docMk/>
          <pc:sldMk cId="3856030827" sldId="517"/>
        </pc:sldMkLst>
      </pc:sldChg>
      <pc:sldMasterChg chg="delSldLayout modSldLayout">
        <pc:chgData name="Ricardo Sérgio Souza e Sousa" userId="b2322a61-6b0f-42d2-a39f-a9a5f08999e4" providerId="ADAL" clId="{C9348547-B843-49F4-9FA0-D5A2F3060976}" dt="2021-09-13T13:16:49.700" v="2142" actId="2696"/>
        <pc:sldMasterMkLst>
          <pc:docMk/>
          <pc:sldMasterMk cId="2158362490" sldId="2147483660"/>
        </pc:sldMasterMkLst>
        <pc:sldLayoutChg chg="addSp delSp mod">
          <pc:chgData name="Ricardo Sérgio Souza e Sousa" userId="b2322a61-6b0f-42d2-a39f-a9a5f08999e4" providerId="ADAL" clId="{C9348547-B843-49F4-9FA0-D5A2F3060976}" dt="2021-09-13T11:45:11.420" v="310" actId="478"/>
          <pc:sldLayoutMkLst>
            <pc:docMk/>
            <pc:sldMasterMk cId="2158362490" sldId="2147483660"/>
            <pc:sldLayoutMk cId="1957081585" sldId="2147483661"/>
          </pc:sldLayoutMkLst>
          <pc:spChg chg="del">
            <ac:chgData name="Ricardo Sérgio Souza e Sousa" userId="b2322a61-6b0f-42d2-a39f-a9a5f08999e4" providerId="ADAL" clId="{C9348547-B843-49F4-9FA0-D5A2F3060976}" dt="2021-09-13T11:45:07.588" v="308" actId="478"/>
            <ac:spMkLst>
              <pc:docMk/>
              <pc:sldMasterMk cId="2158362490" sldId="2147483660"/>
              <pc:sldLayoutMk cId="1957081585" sldId="2147483661"/>
              <ac:spMk id="2" creationId="{00000000-0000-0000-0000-000000000000}"/>
            </ac:spMkLst>
          </pc:spChg>
          <pc:spChg chg="add del">
            <ac:chgData name="Ricardo Sérgio Souza e Sousa" userId="b2322a61-6b0f-42d2-a39f-a9a5f08999e4" providerId="ADAL" clId="{C9348547-B843-49F4-9FA0-D5A2F3060976}" dt="2021-09-13T11:45:11.420" v="310" actId="478"/>
            <ac:spMkLst>
              <pc:docMk/>
              <pc:sldMasterMk cId="2158362490" sldId="2147483660"/>
              <pc:sldLayoutMk cId="1957081585" sldId="2147483661"/>
              <ac:spMk id="69" creationId="{00000000-0000-0000-0000-000000000000}"/>
            </ac:spMkLst>
          </pc:spChg>
        </pc:sldLayoutChg>
        <pc:sldLayoutChg chg="addSp delSp mod">
          <pc:chgData name="Ricardo Sérgio Souza e Sousa" userId="b2322a61-6b0f-42d2-a39f-a9a5f08999e4" providerId="ADAL" clId="{C9348547-B843-49F4-9FA0-D5A2F3060976}" dt="2021-09-13T11:45:20.036" v="313" actId="478"/>
          <pc:sldLayoutMkLst>
            <pc:docMk/>
            <pc:sldMasterMk cId="2158362490" sldId="2147483660"/>
            <pc:sldLayoutMk cId="3351369154" sldId="2147483662"/>
          </pc:sldLayoutMkLst>
          <pc:spChg chg="add del">
            <ac:chgData name="Ricardo Sérgio Souza e Sousa" userId="b2322a61-6b0f-42d2-a39f-a9a5f08999e4" providerId="ADAL" clId="{C9348547-B843-49F4-9FA0-D5A2F3060976}" dt="2021-09-13T11:45:20.036" v="313" actId="478"/>
            <ac:spMkLst>
              <pc:docMk/>
              <pc:sldMasterMk cId="2158362490" sldId="2147483660"/>
              <pc:sldLayoutMk cId="3351369154" sldId="2147483662"/>
              <ac:spMk id="2" creationId="{00000000-0000-0000-0000-000000000000}"/>
            </ac:spMkLst>
          </pc:spChg>
          <pc:spChg chg="add del">
            <ac:chgData name="Ricardo Sérgio Souza e Sousa" userId="b2322a61-6b0f-42d2-a39f-a9a5f08999e4" providerId="ADAL" clId="{C9348547-B843-49F4-9FA0-D5A2F3060976}" dt="2021-09-13T11:45:20.036" v="313" actId="478"/>
            <ac:spMkLst>
              <pc:docMk/>
              <pc:sldMasterMk cId="2158362490" sldId="2147483660"/>
              <pc:sldLayoutMk cId="3351369154" sldId="2147483662"/>
              <ac:spMk id="5" creationId="{00000000-0000-0000-0000-000000000000}"/>
            </ac:spMkLst>
          </pc:spChg>
          <pc:cxnChg chg="add del">
            <ac:chgData name="Ricardo Sérgio Souza e Sousa" userId="b2322a61-6b0f-42d2-a39f-a9a5f08999e4" providerId="ADAL" clId="{C9348547-B843-49F4-9FA0-D5A2F3060976}" dt="2021-09-13T11:45:15.916" v="312" actId="478"/>
            <ac:cxnSpMkLst>
              <pc:docMk/>
              <pc:sldMasterMk cId="2158362490" sldId="2147483660"/>
              <pc:sldLayoutMk cId="3351369154" sldId="2147483662"/>
              <ac:cxnSpMk id="45" creationId="{00000000-0000-0000-0000-000000000000}"/>
            </ac:cxnSpMkLst>
          </pc:cxnChg>
        </pc:sldLayoutChg>
        <pc:sldLayoutChg chg="delSp mod">
          <pc:chgData name="Ricardo Sérgio Souza e Sousa" userId="b2322a61-6b0f-42d2-a39f-a9a5f08999e4" providerId="ADAL" clId="{C9348547-B843-49F4-9FA0-D5A2F3060976}" dt="2021-09-13T11:45:23.460" v="314" actId="478"/>
          <pc:sldLayoutMkLst>
            <pc:docMk/>
            <pc:sldMasterMk cId="2158362490" sldId="2147483660"/>
            <pc:sldLayoutMk cId="953706099" sldId="2147483663"/>
          </pc:sldLayoutMkLst>
          <pc:spChg chg="del">
            <ac:chgData name="Ricardo Sérgio Souza e Sousa" userId="b2322a61-6b0f-42d2-a39f-a9a5f08999e4" providerId="ADAL" clId="{C9348547-B843-49F4-9FA0-D5A2F3060976}" dt="2021-09-13T11:45:23.460" v="314" actId="478"/>
            <ac:spMkLst>
              <pc:docMk/>
              <pc:sldMasterMk cId="2158362490" sldId="2147483660"/>
              <pc:sldLayoutMk cId="953706099" sldId="2147483663"/>
              <ac:spMk id="3" creationId="{00000000-0000-0000-0000-000000000000}"/>
            </ac:spMkLst>
          </pc:spChg>
        </pc:sldLayoutChg>
        <pc:sldLayoutChg chg="delSp mod">
          <pc:chgData name="Ricardo Sérgio Souza e Sousa" userId="b2322a61-6b0f-42d2-a39f-a9a5f08999e4" providerId="ADAL" clId="{C9348547-B843-49F4-9FA0-D5A2F3060976}" dt="2021-09-13T11:45:25.877" v="315" actId="478"/>
          <pc:sldLayoutMkLst>
            <pc:docMk/>
            <pc:sldMasterMk cId="2158362490" sldId="2147483660"/>
            <pc:sldLayoutMk cId="3641767670" sldId="2147483664"/>
          </pc:sldLayoutMkLst>
          <pc:spChg chg="del">
            <ac:chgData name="Ricardo Sérgio Souza e Sousa" userId="b2322a61-6b0f-42d2-a39f-a9a5f08999e4" providerId="ADAL" clId="{C9348547-B843-49F4-9FA0-D5A2F3060976}" dt="2021-09-13T11:45:25.877" v="315" actId="478"/>
            <ac:spMkLst>
              <pc:docMk/>
              <pc:sldMasterMk cId="2158362490" sldId="2147483660"/>
              <pc:sldLayoutMk cId="3641767670" sldId="2147483664"/>
              <ac:spMk id="3" creationId="{00000000-0000-0000-0000-000000000000}"/>
            </ac:spMkLst>
          </pc:spChg>
        </pc:sldLayoutChg>
        <pc:sldLayoutChg chg="addSp delSp modSp mod">
          <pc:chgData name="Ricardo Sérgio Souza e Sousa" userId="b2322a61-6b0f-42d2-a39f-a9a5f08999e4" providerId="ADAL" clId="{C9348547-B843-49F4-9FA0-D5A2F3060976}" dt="2021-09-13T11:44:54.594" v="307"/>
          <pc:sldLayoutMkLst>
            <pc:docMk/>
            <pc:sldMasterMk cId="2158362490" sldId="2147483660"/>
            <pc:sldLayoutMk cId="3523129093" sldId="2147483673"/>
          </pc:sldLayoutMkLst>
          <pc:spChg chg="del">
            <ac:chgData name="Ricardo Sérgio Souza e Sousa" userId="b2322a61-6b0f-42d2-a39f-a9a5f08999e4" providerId="ADAL" clId="{C9348547-B843-49F4-9FA0-D5A2F3060976}" dt="2021-09-13T11:44:54.050" v="290" actId="478"/>
            <ac:spMkLst>
              <pc:docMk/>
              <pc:sldMasterMk cId="2158362490" sldId="2147483660"/>
              <pc:sldLayoutMk cId="3523129093" sldId="2147483673"/>
              <ac:spMk id="11" creationId="{00000000-0000-0000-0000-000000000000}"/>
            </ac:spMkLst>
          </pc:spChg>
          <pc:spChg chg="del">
            <ac:chgData name="Ricardo Sérgio Souza e Sousa" userId="b2322a61-6b0f-42d2-a39f-a9a5f08999e4" providerId="ADAL" clId="{C9348547-B843-49F4-9FA0-D5A2F3060976}" dt="2021-09-13T11:44:54.050" v="290" actId="478"/>
            <ac:spMkLst>
              <pc:docMk/>
              <pc:sldMasterMk cId="2158362490" sldId="2147483660"/>
              <pc:sldLayoutMk cId="3523129093" sldId="2147483673"/>
              <ac:spMk id="13" creationId="{BF3D642A-740D-41C7-ADD2-AF4B783A79BE}"/>
            </ac:spMkLst>
          </pc:spChg>
          <pc:spChg chg="del">
            <ac:chgData name="Ricardo Sérgio Souza e Sousa" userId="b2322a61-6b0f-42d2-a39f-a9a5f08999e4" providerId="ADAL" clId="{C9348547-B843-49F4-9FA0-D5A2F3060976}" dt="2021-09-13T11:44:54.050" v="290" actId="478"/>
            <ac:spMkLst>
              <pc:docMk/>
              <pc:sldMasterMk cId="2158362490" sldId="2147483660"/>
              <pc:sldLayoutMk cId="3523129093" sldId="2147483673"/>
              <ac:spMk id="16" creationId="{2571362A-96F8-4C78-8338-66AA2FE17B9B}"/>
            </ac:spMkLst>
          </pc:spChg>
          <pc:spChg chg="del">
            <ac:chgData name="Ricardo Sérgio Souza e Sousa" userId="b2322a61-6b0f-42d2-a39f-a9a5f08999e4" providerId="ADAL" clId="{C9348547-B843-49F4-9FA0-D5A2F3060976}" dt="2021-09-13T11:44:54.050" v="290" actId="478"/>
            <ac:spMkLst>
              <pc:docMk/>
              <pc:sldMasterMk cId="2158362490" sldId="2147483660"/>
              <pc:sldLayoutMk cId="3523129093" sldId="2147483673"/>
              <ac:spMk id="17" creationId="{0150F6FE-4B35-482F-AB19-5C7931A77A5C}"/>
            </ac:spMkLst>
          </pc:spChg>
          <pc:spChg chg="del">
            <ac:chgData name="Ricardo Sérgio Souza e Sousa" userId="b2322a61-6b0f-42d2-a39f-a9a5f08999e4" providerId="ADAL" clId="{C9348547-B843-49F4-9FA0-D5A2F3060976}" dt="2021-09-13T11:44:54.050" v="290" actId="478"/>
            <ac:spMkLst>
              <pc:docMk/>
              <pc:sldMasterMk cId="2158362490" sldId="2147483660"/>
              <pc:sldLayoutMk cId="3523129093" sldId="2147483673"/>
              <ac:spMk id="18" creationId="{00000000-0000-0000-0000-000000000000}"/>
            </ac:spMkLst>
          </pc:spChg>
          <pc:spChg chg="del">
            <ac:chgData name="Ricardo Sérgio Souza e Sousa" userId="b2322a61-6b0f-42d2-a39f-a9a5f08999e4" providerId="ADAL" clId="{C9348547-B843-49F4-9FA0-D5A2F3060976}" dt="2021-09-13T11:44:54.050" v="290" actId="478"/>
            <ac:spMkLst>
              <pc:docMk/>
              <pc:sldMasterMk cId="2158362490" sldId="2147483660"/>
              <pc:sldLayoutMk cId="3523129093" sldId="2147483673"/>
              <ac:spMk id="20" creationId="{00000000-0000-0000-0000-000000000000}"/>
            </ac:spMkLst>
          </pc:spChg>
          <pc:spChg chg="del">
            <ac:chgData name="Ricardo Sérgio Souza e Sousa" userId="b2322a61-6b0f-42d2-a39f-a9a5f08999e4" providerId="ADAL" clId="{C9348547-B843-49F4-9FA0-D5A2F3060976}" dt="2021-09-13T11:44:54.050" v="290" actId="478"/>
            <ac:spMkLst>
              <pc:docMk/>
              <pc:sldMasterMk cId="2158362490" sldId="2147483660"/>
              <pc:sldLayoutMk cId="3523129093" sldId="2147483673"/>
              <ac:spMk id="29" creationId="{00000000-0000-0000-0000-000000000000}"/>
            </ac:spMkLst>
          </pc:spChg>
          <pc:graphicFrameChg chg="add mod ord modVis replST">
            <ac:chgData name="Ricardo Sérgio Souza e Sousa" userId="b2322a61-6b0f-42d2-a39f-a9a5f08999e4" providerId="ADAL" clId="{C9348547-B843-49F4-9FA0-D5A2F3060976}" dt="2021-09-13T11:44:54.594" v="307"/>
            <ac:graphicFrameMkLst>
              <pc:docMk/>
              <pc:sldMasterMk cId="2158362490" sldId="2147483660"/>
              <pc:sldLayoutMk cId="3523129093" sldId="2147483673"/>
              <ac:graphicFrameMk id="2" creationId="{D4141713-DA6B-4084-A108-06D445ED9C92}"/>
            </ac:graphicFrameMkLst>
          </pc:graphicFrameChg>
          <pc:cxnChg chg="del">
            <ac:chgData name="Ricardo Sérgio Souza e Sousa" userId="b2322a61-6b0f-42d2-a39f-a9a5f08999e4" providerId="ADAL" clId="{C9348547-B843-49F4-9FA0-D5A2F3060976}" dt="2021-09-13T11:44:54.050" v="290" actId="478"/>
            <ac:cxnSpMkLst>
              <pc:docMk/>
              <pc:sldMasterMk cId="2158362490" sldId="2147483660"/>
              <pc:sldLayoutMk cId="3523129093" sldId="2147483673"/>
              <ac:cxnSpMk id="3" creationId="{00000000-0000-0000-0000-000000000000}"/>
            </ac:cxnSpMkLst>
          </pc:cxnChg>
          <pc:cxnChg chg="del">
            <ac:chgData name="Ricardo Sérgio Souza e Sousa" userId="b2322a61-6b0f-42d2-a39f-a9a5f08999e4" providerId="ADAL" clId="{C9348547-B843-49F4-9FA0-D5A2F3060976}" dt="2021-09-13T11:44:54.050" v="290" actId="478"/>
            <ac:cxnSpMkLst>
              <pc:docMk/>
              <pc:sldMasterMk cId="2158362490" sldId="2147483660"/>
              <pc:sldLayoutMk cId="3523129093" sldId="2147483673"/>
              <ac:cxnSpMk id="12" creationId="{00000000-0000-0000-0000-000000000000}"/>
            </ac:cxnSpMkLst>
          </pc:cxnChg>
          <pc:cxnChg chg="del">
            <ac:chgData name="Ricardo Sérgio Souza e Sousa" userId="b2322a61-6b0f-42d2-a39f-a9a5f08999e4" providerId="ADAL" clId="{C9348547-B843-49F4-9FA0-D5A2F3060976}" dt="2021-09-13T11:44:54.050" v="290" actId="478"/>
            <ac:cxnSpMkLst>
              <pc:docMk/>
              <pc:sldMasterMk cId="2158362490" sldId="2147483660"/>
              <pc:sldLayoutMk cId="3523129093" sldId="2147483673"/>
              <ac:cxnSpMk id="15" creationId="{00000000-0000-0000-0000-000000000000}"/>
            </ac:cxnSpMkLst>
          </pc:cxnChg>
        </pc:sldLayoutChg>
        <pc:sldLayoutChg chg="addSp delSp modSp mod">
          <pc:chgData name="Ricardo Sérgio Souza e Sousa" userId="b2322a61-6b0f-42d2-a39f-a9a5f08999e4" providerId="ADAL" clId="{C9348547-B843-49F4-9FA0-D5A2F3060976}" dt="2021-09-13T11:44:51.328" v="289"/>
          <pc:sldLayoutMkLst>
            <pc:docMk/>
            <pc:sldMasterMk cId="2158362490" sldId="2147483660"/>
            <pc:sldLayoutMk cId="3172595685" sldId="2147483674"/>
          </pc:sldLayoutMkLst>
          <pc:spChg chg="del">
            <ac:chgData name="Ricardo Sérgio Souza e Sousa" userId="b2322a61-6b0f-42d2-a39f-a9a5f08999e4" providerId="ADAL" clId="{C9348547-B843-49F4-9FA0-D5A2F3060976}" dt="2021-09-13T11:44:50.598" v="274" actId="478"/>
            <ac:spMkLst>
              <pc:docMk/>
              <pc:sldMasterMk cId="2158362490" sldId="2147483660"/>
              <pc:sldLayoutMk cId="3172595685" sldId="2147483674"/>
              <ac:spMk id="2" creationId="{00000000-0000-0000-0000-000000000000}"/>
            </ac:spMkLst>
          </pc:spChg>
          <pc:spChg chg="del">
            <ac:chgData name="Ricardo Sérgio Souza e Sousa" userId="b2322a61-6b0f-42d2-a39f-a9a5f08999e4" providerId="ADAL" clId="{C9348547-B843-49F4-9FA0-D5A2F3060976}" dt="2021-09-13T11:44:50.598" v="274" actId="478"/>
            <ac:spMkLst>
              <pc:docMk/>
              <pc:sldMasterMk cId="2158362490" sldId="2147483660"/>
              <pc:sldLayoutMk cId="3172595685" sldId="2147483674"/>
              <ac:spMk id="3" creationId="{00000000-0000-0000-0000-000000000000}"/>
            </ac:spMkLst>
          </pc:spChg>
          <pc:spChg chg="del">
            <ac:chgData name="Ricardo Sérgio Souza e Sousa" userId="b2322a61-6b0f-42d2-a39f-a9a5f08999e4" providerId="ADAL" clId="{C9348547-B843-49F4-9FA0-D5A2F3060976}" dt="2021-09-13T11:44:50.598" v="274" actId="478"/>
            <ac:spMkLst>
              <pc:docMk/>
              <pc:sldMasterMk cId="2158362490" sldId="2147483660"/>
              <pc:sldLayoutMk cId="3172595685" sldId="2147483674"/>
              <ac:spMk id="4" creationId="{8E02FD6D-217B-4A52-A470-3014193A7803}"/>
            </ac:spMkLst>
          </pc:spChg>
          <pc:spChg chg="del">
            <ac:chgData name="Ricardo Sérgio Souza e Sousa" userId="b2322a61-6b0f-42d2-a39f-a9a5f08999e4" providerId="ADAL" clId="{C9348547-B843-49F4-9FA0-D5A2F3060976}" dt="2021-09-13T11:44:50.598" v="274" actId="478"/>
            <ac:spMkLst>
              <pc:docMk/>
              <pc:sldMasterMk cId="2158362490" sldId="2147483660"/>
              <pc:sldLayoutMk cId="3172595685" sldId="2147483674"/>
              <ac:spMk id="5" creationId="{0418C8F7-A5D4-4B62-A3CA-2DD1422D13F2}"/>
            </ac:spMkLst>
          </pc:spChg>
          <pc:spChg chg="del">
            <ac:chgData name="Ricardo Sérgio Souza e Sousa" userId="b2322a61-6b0f-42d2-a39f-a9a5f08999e4" providerId="ADAL" clId="{C9348547-B843-49F4-9FA0-D5A2F3060976}" dt="2021-09-13T11:44:50.598" v="274" actId="478"/>
            <ac:spMkLst>
              <pc:docMk/>
              <pc:sldMasterMk cId="2158362490" sldId="2147483660"/>
              <pc:sldLayoutMk cId="3172595685" sldId="2147483674"/>
              <ac:spMk id="6" creationId="{D7CD75AC-64EF-4ADA-B5A3-105252CEA9BB}"/>
            </ac:spMkLst>
          </pc:spChg>
          <pc:graphicFrameChg chg="add mod modVis replST">
            <ac:chgData name="Ricardo Sérgio Souza e Sousa" userId="b2322a61-6b0f-42d2-a39f-a9a5f08999e4" providerId="ADAL" clId="{C9348547-B843-49F4-9FA0-D5A2F3060976}" dt="2021-09-13T11:44:51.328" v="289"/>
            <ac:graphicFrameMkLst>
              <pc:docMk/>
              <pc:sldMasterMk cId="2158362490" sldId="2147483660"/>
              <pc:sldLayoutMk cId="3172595685" sldId="2147483674"/>
              <ac:graphicFrameMk id="7" creationId="{7A8128C8-F45E-408B-B899-EE760AB3EAE0}"/>
            </ac:graphicFrameMkLst>
          </pc:graphicFrameChg>
        </pc:sldLayoutChg>
        <pc:sldLayoutChg chg="delSp mod">
          <pc:chgData name="Ricardo Sérgio Souza e Sousa" userId="b2322a61-6b0f-42d2-a39f-a9a5f08999e4" providerId="ADAL" clId="{C9348547-B843-49F4-9FA0-D5A2F3060976}" dt="2021-09-13T11:45:33.158" v="316" actId="478"/>
          <pc:sldLayoutMkLst>
            <pc:docMk/>
            <pc:sldMasterMk cId="2158362490" sldId="2147483660"/>
            <pc:sldLayoutMk cId="2347832559" sldId="2147483675"/>
          </pc:sldLayoutMkLst>
          <pc:spChg chg="del">
            <ac:chgData name="Ricardo Sérgio Souza e Sousa" userId="b2322a61-6b0f-42d2-a39f-a9a5f08999e4" providerId="ADAL" clId="{C9348547-B843-49F4-9FA0-D5A2F3060976}" dt="2021-09-13T11:45:33.158" v="316" actId="478"/>
            <ac:spMkLst>
              <pc:docMk/>
              <pc:sldMasterMk cId="2158362490" sldId="2147483660"/>
              <pc:sldLayoutMk cId="2347832559" sldId="2147483675"/>
              <ac:spMk id="2" creationId="{5AE45A78-8D3D-4AAC-98B1-71235224C0F2}"/>
            </ac:spMkLst>
          </pc:spChg>
          <pc:spChg chg="del">
            <ac:chgData name="Ricardo Sérgio Souza e Sousa" userId="b2322a61-6b0f-42d2-a39f-a9a5f08999e4" providerId="ADAL" clId="{C9348547-B843-49F4-9FA0-D5A2F3060976}" dt="2021-09-13T11:45:33.158" v="316" actId="478"/>
            <ac:spMkLst>
              <pc:docMk/>
              <pc:sldMasterMk cId="2158362490" sldId="2147483660"/>
              <pc:sldLayoutMk cId="2347832559" sldId="2147483675"/>
              <ac:spMk id="3" creationId="{297AA4E6-0202-4C19-9C1A-CFA4BAD8C395}"/>
            </ac:spMkLst>
          </pc:spChg>
          <pc:spChg chg="del">
            <ac:chgData name="Ricardo Sérgio Souza e Sousa" userId="b2322a61-6b0f-42d2-a39f-a9a5f08999e4" providerId="ADAL" clId="{C9348547-B843-49F4-9FA0-D5A2F3060976}" dt="2021-09-13T11:45:33.158" v="316" actId="478"/>
            <ac:spMkLst>
              <pc:docMk/>
              <pc:sldMasterMk cId="2158362490" sldId="2147483660"/>
              <pc:sldLayoutMk cId="2347832559" sldId="2147483675"/>
              <ac:spMk id="4" creationId="{84942131-A016-444F-8643-AC0F59D6C8B0}"/>
            </ac:spMkLst>
          </pc:spChg>
        </pc:sldLayoutChg>
        <pc:sldLayoutChg chg="delSp mod">
          <pc:chgData name="Ricardo Sérgio Souza e Sousa" userId="b2322a61-6b0f-42d2-a39f-a9a5f08999e4" providerId="ADAL" clId="{C9348547-B843-49F4-9FA0-D5A2F3060976}" dt="2021-09-13T11:45:43.090" v="318" actId="478"/>
          <pc:sldLayoutMkLst>
            <pc:docMk/>
            <pc:sldMasterMk cId="2158362490" sldId="2147483660"/>
            <pc:sldLayoutMk cId="801188597" sldId="2147483676"/>
          </pc:sldLayoutMkLst>
          <pc:spChg chg="del">
            <ac:chgData name="Ricardo Sérgio Souza e Sousa" userId="b2322a61-6b0f-42d2-a39f-a9a5f08999e4" providerId="ADAL" clId="{C9348547-B843-49F4-9FA0-D5A2F3060976}" dt="2021-09-13T11:45:43.090" v="318" actId="478"/>
            <ac:spMkLst>
              <pc:docMk/>
              <pc:sldMasterMk cId="2158362490" sldId="2147483660"/>
              <pc:sldLayoutMk cId="801188597" sldId="2147483676"/>
              <ac:spMk id="2" creationId="{00000000-0000-0000-0000-000000000000}"/>
            </ac:spMkLst>
          </pc:spChg>
          <pc:spChg chg="del">
            <ac:chgData name="Ricardo Sérgio Souza e Sousa" userId="b2322a61-6b0f-42d2-a39f-a9a5f08999e4" providerId="ADAL" clId="{C9348547-B843-49F4-9FA0-D5A2F3060976}" dt="2021-09-13T11:45:36.252" v="317" actId="478"/>
            <ac:spMkLst>
              <pc:docMk/>
              <pc:sldMasterMk cId="2158362490" sldId="2147483660"/>
              <pc:sldLayoutMk cId="801188597" sldId="2147483676"/>
              <ac:spMk id="3" creationId="{16C8FFD1-7252-463A-BDE4-27BB2C2D604F}"/>
            </ac:spMkLst>
          </pc:spChg>
          <pc:spChg chg="del">
            <ac:chgData name="Ricardo Sérgio Souza e Sousa" userId="b2322a61-6b0f-42d2-a39f-a9a5f08999e4" providerId="ADAL" clId="{C9348547-B843-49F4-9FA0-D5A2F3060976}" dt="2021-09-13T11:45:36.252" v="317" actId="478"/>
            <ac:spMkLst>
              <pc:docMk/>
              <pc:sldMasterMk cId="2158362490" sldId="2147483660"/>
              <pc:sldLayoutMk cId="801188597" sldId="2147483676"/>
              <ac:spMk id="4" creationId="{6AE3B329-8F7F-470F-8A18-3E467F830F84}"/>
            </ac:spMkLst>
          </pc:spChg>
          <pc:spChg chg="del">
            <ac:chgData name="Ricardo Sérgio Souza e Sousa" userId="b2322a61-6b0f-42d2-a39f-a9a5f08999e4" providerId="ADAL" clId="{C9348547-B843-49F4-9FA0-D5A2F3060976}" dt="2021-09-13T11:45:36.252" v="317" actId="478"/>
            <ac:spMkLst>
              <pc:docMk/>
              <pc:sldMasterMk cId="2158362490" sldId="2147483660"/>
              <pc:sldLayoutMk cId="801188597" sldId="2147483676"/>
              <ac:spMk id="5" creationId="{4FB04110-605C-42D8-AF66-10B8BBEFE086}"/>
            </ac:spMkLst>
          </pc:spChg>
        </pc:sldLayoutChg>
        <pc:sldLayoutChg chg="addSp delSp modSp mod">
          <pc:chgData name="Ricardo Sérgio Souza e Sousa" userId="b2322a61-6b0f-42d2-a39f-a9a5f08999e4" providerId="ADAL" clId="{C9348547-B843-49F4-9FA0-D5A2F3060976}" dt="2021-09-13T11:45:50.316" v="334"/>
          <pc:sldLayoutMkLst>
            <pc:docMk/>
            <pc:sldMasterMk cId="2158362490" sldId="2147483660"/>
            <pc:sldLayoutMk cId="1242023406" sldId="2147483677"/>
          </pc:sldLayoutMkLst>
          <pc:spChg chg="del">
            <ac:chgData name="Ricardo Sérgio Souza e Sousa" userId="b2322a61-6b0f-42d2-a39f-a9a5f08999e4" providerId="ADAL" clId="{C9348547-B843-49F4-9FA0-D5A2F3060976}" dt="2021-09-13T11:45:49.663" v="319" actId="478"/>
            <ac:spMkLst>
              <pc:docMk/>
              <pc:sldMasterMk cId="2158362490" sldId="2147483660"/>
              <pc:sldLayoutMk cId="1242023406" sldId="2147483677"/>
              <ac:spMk id="2" creationId="{00000000-0000-0000-0000-000000000000}"/>
            </ac:spMkLst>
          </pc:spChg>
          <pc:spChg chg="del">
            <ac:chgData name="Ricardo Sérgio Souza e Sousa" userId="b2322a61-6b0f-42d2-a39f-a9a5f08999e4" providerId="ADAL" clId="{C9348547-B843-49F4-9FA0-D5A2F3060976}" dt="2021-09-13T11:45:49.663" v="319" actId="478"/>
            <ac:spMkLst>
              <pc:docMk/>
              <pc:sldMasterMk cId="2158362490" sldId="2147483660"/>
              <pc:sldLayoutMk cId="1242023406" sldId="2147483677"/>
              <ac:spMk id="3" creationId="{00000000-0000-0000-0000-000000000000}"/>
            </ac:spMkLst>
          </pc:spChg>
          <pc:spChg chg="del">
            <ac:chgData name="Ricardo Sérgio Souza e Sousa" userId="b2322a61-6b0f-42d2-a39f-a9a5f08999e4" providerId="ADAL" clId="{C9348547-B843-49F4-9FA0-D5A2F3060976}" dt="2021-09-13T11:45:49.663" v="319" actId="478"/>
            <ac:spMkLst>
              <pc:docMk/>
              <pc:sldMasterMk cId="2158362490" sldId="2147483660"/>
              <pc:sldLayoutMk cId="1242023406" sldId="2147483677"/>
              <ac:spMk id="4" creationId="{00000000-0000-0000-0000-000000000000}"/>
            </ac:spMkLst>
          </pc:spChg>
          <pc:spChg chg="del">
            <ac:chgData name="Ricardo Sérgio Souza e Sousa" userId="b2322a61-6b0f-42d2-a39f-a9a5f08999e4" providerId="ADAL" clId="{C9348547-B843-49F4-9FA0-D5A2F3060976}" dt="2021-09-13T11:45:49.663" v="319" actId="478"/>
            <ac:spMkLst>
              <pc:docMk/>
              <pc:sldMasterMk cId="2158362490" sldId="2147483660"/>
              <pc:sldLayoutMk cId="1242023406" sldId="2147483677"/>
              <ac:spMk id="5" creationId="{CB202610-00AB-4999-A023-52AFF6A86684}"/>
            </ac:spMkLst>
          </pc:spChg>
          <pc:spChg chg="del">
            <ac:chgData name="Ricardo Sérgio Souza e Sousa" userId="b2322a61-6b0f-42d2-a39f-a9a5f08999e4" providerId="ADAL" clId="{C9348547-B843-49F4-9FA0-D5A2F3060976}" dt="2021-09-13T11:45:49.663" v="319" actId="478"/>
            <ac:spMkLst>
              <pc:docMk/>
              <pc:sldMasterMk cId="2158362490" sldId="2147483660"/>
              <pc:sldLayoutMk cId="1242023406" sldId="2147483677"/>
              <ac:spMk id="6" creationId="{29CF39A0-5AC0-44E1-8892-BCC1F5E32897}"/>
            </ac:spMkLst>
          </pc:spChg>
          <pc:spChg chg="del">
            <ac:chgData name="Ricardo Sérgio Souza e Sousa" userId="b2322a61-6b0f-42d2-a39f-a9a5f08999e4" providerId="ADAL" clId="{C9348547-B843-49F4-9FA0-D5A2F3060976}" dt="2021-09-13T11:45:49.663" v="319" actId="478"/>
            <ac:spMkLst>
              <pc:docMk/>
              <pc:sldMasterMk cId="2158362490" sldId="2147483660"/>
              <pc:sldLayoutMk cId="1242023406" sldId="2147483677"/>
              <ac:spMk id="7" creationId="{3B64A21E-2F6C-4984-9AD4-16F34A46A738}"/>
            </ac:spMkLst>
          </pc:spChg>
          <pc:graphicFrameChg chg="add mod modVis replST">
            <ac:chgData name="Ricardo Sérgio Souza e Sousa" userId="b2322a61-6b0f-42d2-a39f-a9a5f08999e4" providerId="ADAL" clId="{C9348547-B843-49F4-9FA0-D5A2F3060976}" dt="2021-09-13T11:45:50.316" v="334"/>
            <ac:graphicFrameMkLst>
              <pc:docMk/>
              <pc:sldMasterMk cId="2158362490" sldId="2147483660"/>
              <pc:sldLayoutMk cId="1242023406" sldId="2147483677"/>
              <ac:graphicFrameMk id="8" creationId="{8DC72282-EE2D-42FF-A311-3C28E6A20A0E}"/>
            </ac:graphicFrameMkLst>
          </pc:graphicFrameChg>
        </pc:sldLayoutChg>
        <pc:sldLayoutChg chg="addSp delSp modSp mod">
          <pc:chgData name="Ricardo Sérgio Souza e Sousa" userId="b2322a61-6b0f-42d2-a39f-a9a5f08999e4" providerId="ADAL" clId="{C9348547-B843-49F4-9FA0-D5A2F3060976}" dt="2021-09-13T11:45:53.247" v="350"/>
          <pc:sldLayoutMkLst>
            <pc:docMk/>
            <pc:sldMasterMk cId="2158362490" sldId="2147483660"/>
            <pc:sldLayoutMk cId="1592910849" sldId="2147483678"/>
          </pc:sldLayoutMkLst>
          <pc:spChg chg="del">
            <ac:chgData name="Ricardo Sérgio Souza e Sousa" userId="b2322a61-6b0f-42d2-a39f-a9a5f08999e4" providerId="ADAL" clId="{C9348547-B843-49F4-9FA0-D5A2F3060976}" dt="2021-09-13T11:45:52.421" v="335" actId="478"/>
            <ac:spMkLst>
              <pc:docMk/>
              <pc:sldMasterMk cId="2158362490" sldId="2147483660"/>
              <pc:sldLayoutMk cId="1592910849" sldId="2147483678"/>
              <ac:spMk id="2" creationId="{00000000-0000-0000-0000-000000000000}"/>
            </ac:spMkLst>
          </pc:spChg>
          <pc:spChg chg="del">
            <ac:chgData name="Ricardo Sérgio Souza e Sousa" userId="b2322a61-6b0f-42d2-a39f-a9a5f08999e4" providerId="ADAL" clId="{C9348547-B843-49F4-9FA0-D5A2F3060976}" dt="2021-09-13T11:45:52.421" v="335" actId="478"/>
            <ac:spMkLst>
              <pc:docMk/>
              <pc:sldMasterMk cId="2158362490" sldId="2147483660"/>
              <pc:sldLayoutMk cId="1592910849" sldId="2147483678"/>
              <ac:spMk id="3" creationId="{00000000-0000-0000-0000-000000000000}"/>
            </ac:spMkLst>
          </pc:spChg>
          <pc:spChg chg="del">
            <ac:chgData name="Ricardo Sérgio Souza e Sousa" userId="b2322a61-6b0f-42d2-a39f-a9a5f08999e4" providerId="ADAL" clId="{C9348547-B843-49F4-9FA0-D5A2F3060976}" dt="2021-09-13T11:45:52.421" v="335" actId="478"/>
            <ac:spMkLst>
              <pc:docMk/>
              <pc:sldMasterMk cId="2158362490" sldId="2147483660"/>
              <pc:sldLayoutMk cId="1592910849" sldId="2147483678"/>
              <ac:spMk id="4" creationId="{00000000-0000-0000-0000-000000000000}"/>
            </ac:spMkLst>
          </pc:spChg>
          <pc:spChg chg="del">
            <ac:chgData name="Ricardo Sérgio Souza e Sousa" userId="b2322a61-6b0f-42d2-a39f-a9a5f08999e4" providerId="ADAL" clId="{C9348547-B843-49F4-9FA0-D5A2F3060976}" dt="2021-09-13T11:45:52.421" v="335" actId="478"/>
            <ac:spMkLst>
              <pc:docMk/>
              <pc:sldMasterMk cId="2158362490" sldId="2147483660"/>
              <pc:sldLayoutMk cId="1592910849" sldId="2147483678"/>
              <ac:spMk id="5" creationId="{00000000-0000-0000-0000-000000000000}"/>
            </ac:spMkLst>
          </pc:spChg>
          <pc:spChg chg="del">
            <ac:chgData name="Ricardo Sérgio Souza e Sousa" userId="b2322a61-6b0f-42d2-a39f-a9a5f08999e4" providerId="ADAL" clId="{C9348547-B843-49F4-9FA0-D5A2F3060976}" dt="2021-09-13T11:45:52.421" v="335" actId="478"/>
            <ac:spMkLst>
              <pc:docMk/>
              <pc:sldMasterMk cId="2158362490" sldId="2147483660"/>
              <pc:sldLayoutMk cId="1592910849" sldId="2147483678"/>
              <ac:spMk id="6" creationId="{2F1153EE-0267-458B-99C4-C7F025A20F06}"/>
            </ac:spMkLst>
          </pc:spChg>
          <pc:spChg chg="del">
            <ac:chgData name="Ricardo Sérgio Souza e Sousa" userId="b2322a61-6b0f-42d2-a39f-a9a5f08999e4" providerId="ADAL" clId="{C9348547-B843-49F4-9FA0-D5A2F3060976}" dt="2021-09-13T11:45:52.421" v="335" actId="478"/>
            <ac:spMkLst>
              <pc:docMk/>
              <pc:sldMasterMk cId="2158362490" sldId="2147483660"/>
              <pc:sldLayoutMk cId="1592910849" sldId="2147483678"/>
              <ac:spMk id="7" creationId="{0805A209-4F67-4D03-AE6D-B26A6F39557F}"/>
            </ac:spMkLst>
          </pc:spChg>
          <pc:spChg chg="del">
            <ac:chgData name="Ricardo Sérgio Souza e Sousa" userId="b2322a61-6b0f-42d2-a39f-a9a5f08999e4" providerId="ADAL" clId="{C9348547-B843-49F4-9FA0-D5A2F3060976}" dt="2021-09-13T11:45:52.421" v="335" actId="478"/>
            <ac:spMkLst>
              <pc:docMk/>
              <pc:sldMasterMk cId="2158362490" sldId="2147483660"/>
              <pc:sldLayoutMk cId="1592910849" sldId="2147483678"/>
              <ac:spMk id="8" creationId="{BF82FAAC-67F4-4A10-8A03-713D85308F93}"/>
            </ac:spMkLst>
          </pc:spChg>
          <pc:graphicFrameChg chg="add mod modVis replST">
            <ac:chgData name="Ricardo Sérgio Souza e Sousa" userId="b2322a61-6b0f-42d2-a39f-a9a5f08999e4" providerId="ADAL" clId="{C9348547-B843-49F4-9FA0-D5A2F3060976}" dt="2021-09-13T11:45:53.247" v="350"/>
            <ac:graphicFrameMkLst>
              <pc:docMk/>
              <pc:sldMasterMk cId="2158362490" sldId="2147483660"/>
              <pc:sldLayoutMk cId="1592910849" sldId="2147483678"/>
              <ac:graphicFrameMk id="9" creationId="{F503809D-D79D-4A01-A7A4-9256D4D87F96}"/>
            </ac:graphicFrameMkLst>
          </pc:graphicFrameChg>
        </pc:sldLayoutChg>
        <pc:sldLayoutChg chg="del">
          <pc:chgData name="Ricardo Sérgio Souza e Sousa" userId="b2322a61-6b0f-42d2-a39f-a9a5f08999e4" providerId="ADAL" clId="{C9348547-B843-49F4-9FA0-D5A2F3060976}" dt="2021-09-13T13:16:49.700" v="2142" actId="2696"/>
          <pc:sldLayoutMkLst>
            <pc:docMk/>
            <pc:sldMasterMk cId="2158362490" sldId="2147483660"/>
            <pc:sldLayoutMk cId="1604388100" sldId="2147483679"/>
          </pc:sldLayoutMkLst>
        </pc:sldLayoutChg>
        <pc:sldLayoutChg chg="del">
          <pc:chgData name="Ricardo Sérgio Souza e Sousa" userId="b2322a61-6b0f-42d2-a39f-a9a5f08999e4" providerId="ADAL" clId="{C9348547-B843-49F4-9FA0-D5A2F3060976}" dt="2021-09-13T11:23:27.363" v="72" actId="47"/>
          <pc:sldLayoutMkLst>
            <pc:docMk/>
            <pc:sldMasterMk cId="2158362490" sldId="2147483660"/>
            <pc:sldLayoutMk cId="2049619905" sldId="2147483679"/>
          </pc:sldLayoutMkLst>
        </pc:sldLayoutChg>
      </pc:sldMasterChg>
    </pc:docChg>
  </pc:docChgLst>
  <pc:docChgLst>
    <pc:chgData name="Ricardo Sérgio Souza e Sousa" userId="b2322a61-6b0f-42d2-a39f-a9a5f08999e4" providerId="ADAL" clId="{662BFD47-53AE-4CF3-9F7D-8E0E913E9ED8}"/>
    <pc:docChg chg="undo modSld">
      <pc:chgData name="Ricardo Sérgio Souza e Sousa" userId="b2322a61-6b0f-42d2-a39f-a9a5f08999e4" providerId="ADAL" clId="{662BFD47-53AE-4CF3-9F7D-8E0E913E9ED8}" dt="2023-12-18T12:55:55.984" v="503" actId="14100"/>
      <pc:docMkLst>
        <pc:docMk/>
      </pc:docMkLst>
      <pc:sldChg chg="modSp mod">
        <pc:chgData name="Ricardo Sérgio Souza e Sousa" userId="b2322a61-6b0f-42d2-a39f-a9a5f08999e4" providerId="ADAL" clId="{662BFD47-53AE-4CF3-9F7D-8E0E913E9ED8}" dt="2023-12-18T12:55:55.984" v="503" actId="14100"/>
        <pc:sldMkLst>
          <pc:docMk/>
          <pc:sldMk cId="2116528502" sldId="475"/>
        </pc:sldMkLst>
        <pc:spChg chg="mod">
          <ac:chgData name="Ricardo Sérgio Souza e Sousa" userId="b2322a61-6b0f-42d2-a39f-a9a5f08999e4" providerId="ADAL" clId="{662BFD47-53AE-4CF3-9F7D-8E0E913E9ED8}" dt="2023-12-18T12:55:52.993" v="502" actId="14100"/>
          <ac:spMkLst>
            <pc:docMk/>
            <pc:sldMk cId="2116528502" sldId="475"/>
            <ac:spMk id="2" creationId="{36120CD9-A5A1-9172-EB2A-0C571E4024EB}"/>
          </ac:spMkLst>
        </pc:spChg>
        <pc:spChg chg="mod">
          <ac:chgData name="Ricardo Sérgio Souza e Sousa" userId="b2322a61-6b0f-42d2-a39f-a9a5f08999e4" providerId="ADAL" clId="{662BFD47-53AE-4CF3-9F7D-8E0E913E9ED8}" dt="2023-12-18T12:55:52.993" v="502" actId="14100"/>
          <ac:spMkLst>
            <pc:docMk/>
            <pc:sldMk cId="2116528502" sldId="475"/>
            <ac:spMk id="3" creationId="{009950E8-AE09-E18A-7BD7-A1411E260EE0}"/>
          </ac:spMkLst>
        </pc:spChg>
        <pc:spChg chg="mod">
          <ac:chgData name="Ricardo Sérgio Souza e Sousa" userId="b2322a61-6b0f-42d2-a39f-a9a5f08999e4" providerId="ADAL" clId="{662BFD47-53AE-4CF3-9F7D-8E0E913E9ED8}" dt="2023-12-18T12:55:52.993" v="502" actId="14100"/>
          <ac:spMkLst>
            <pc:docMk/>
            <pc:sldMk cId="2116528502" sldId="475"/>
            <ac:spMk id="8" creationId="{C1B9D129-07C7-4EB0-BC65-76BDBD9F544B}"/>
          </ac:spMkLst>
        </pc:spChg>
        <pc:spChg chg="mod">
          <ac:chgData name="Ricardo Sérgio Souza e Sousa" userId="b2322a61-6b0f-42d2-a39f-a9a5f08999e4" providerId="ADAL" clId="{662BFD47-53AE-4CF3-9F7D-8E0E913E9ED8}" dt="2023-12-18T12:55:52.993" v="502" actId="14100"/>
          <ac:spMkLst>
            <pc:docMk/>
            <pc:sldMk cId="2116528502" sldId="475"/>
            <ac:spMk id="10" creationId="{D2F9B194-9132-EC3D-D1B9-95C7A8A1782E}"/>
          </ac:spMkLst>
        </pc:spChg>
        <pc:spChg chg="mod">
          <ac:chgData name="Ricardo Sérgio Souza e Sousa" userId="b2322a61-6b0f-42d2-a39f-a9a5f08999e4" providerId="ADAL" clId="{662BFD47-53AE-4CF3-9F7D-8E0E913E9ED8}" dt="2023-12-18T12:55:55.984" v="503" actId="14100"/>
          <ac:spMkLst>
            <pc:docMk/>
            <pc:sldMk cId="2116528502" sldId="475"/>
            <ac:spMk id="11" creationId="{63F56501-53D0-3CE2-1C11-8DF9718542F0}"/>
          </ac:spMkLst>
        </pc:spChg>
      </pc:sldChg>
    </pc:docChg>
  </pc:docChgLst>
  <pc:docChgLst>
    <pc:chgData name="Ricardo Sérgio Souza e Sousa" userId="b2322a61-6b0f-42d2-a39f-a9a5f08999e4" providerId="ADAL" clId="{5C3992CF-AFD5-456C-8977-BBD171CFEC62}"/>
    <pc:docChg chg="undo custSel addSld modSld sldOrd replTag">
      <pc:chgData name="Ricardo Sérgio Souza e Sousa" userId="b2322a61-6b0f-42d2-a39f-a9a5f08999e4" providerId="ADAL" clId="{5C3992CF-AFD5-456C-8977-BBD171CFEC62}" dt="2021-10-21T11:48:40.022" v="2093" actId="1076"/>
      <pc:docMkLst>
        <pc:docMk/>
      </pc:docMkLst>
      <pc:sldChg chg="addSp delSp modSp mod modAnim">
        <pc:chgData name="Ricardo Sérgio Souza e Sousa" userId="b2322a61-6b0f-42d2-a39f-a9a5f08999e4" providerId="ADAL" clId="{5C3992CF-AFD5-456C-8977-BBD171CFEC62}" dt="2021-10-21T11:48:40.022" v="2093" actId="1076"/>
        <pc:sldMkLst>
          <pc:docMk/>
          <pc:sldMk cId="776039832" sldId="284"/>
        </pc:sldMkLst>
        <pc:spChg chg="add del mod modVis">
          <ac:chgData name="Ricardo Sérgio Souza e Sousa" userId="b2322a61-6b0f-42d2-a39f-a9a5f08999e4" providerId="ADAL" clId="{5C3992CF-AFD5-456C-8977-BBD171CFEC62}" dt="2021-10-21T11:42:51.891" v="1306" actId="962"/>
          <ac:spMkLst>
            <pc:docMk/>
            <pc:sldMk cId="776039832" sldId="284"/>
            <ac:spMk id="3" creationId="{228430DE-68B8-449B-AE88-528E1F948527}"/>
          </ac:spMkLst>
        </pc:spChg>
        <pc:spChg chg="mod">
          <ac:chgData name="Ricardo Sérgio Souza e Sousa" userId="b2322a61-6b0f-42d2-a39f-a9a5f08999e4" providerId="ADAL" clId="{5C3992CF-AFD5-456C-8977-BBD171CFEC62}" dt="2021-10-21T11:48:40.022" v="2093" actId="1076"/>
          <ac:spMkLst>
            <pc:docMk/>
            <pc:sldMk cId="776039832" sldId="284"/>
            <ac:spMk id="4" creationId="{00000000-0000-0000-0000-000000000000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42:51.412" v="1263" actId="962"/>
          <ac:spMkLst>
            <pc:docMk/>
            <pc:sldMk cId="776039832" sldId="284"/>
            <ac:spMk id="6" creationId="{61BEF7D9-225B-4919-9DD9-957B3665062B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43:38.702" v="1366"/>
          <ac:spMkLst>
            <pc:docMk/>
            <pc:sldMk cId="776039832" sldId="284"/>
            <ac:spMk id="7" creationId="{B829F62D-B4FF-4AEF-9A3E-FC855F43C052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43:39.473" v="1411"/>
          <ac:spMkLst>
            <pc:docMk/>
            <pc:sldMk cId="776039832" sldId="284"/>
            <ac:spMk id="8" creationId="{54FA755B-24AF-42AC-87CF-85A0723127B2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43:45.987" v="1461"/>
          <ac:spMkLst>
            <pc:docMk/>
            <pc:sldMk cId="776039832" sldId="284"/>
            <ac:spMk id="9" creationId="{A751614E-6DF0-4E81-A51B-19047427B8E6}"/>
          </ac:spMkLst>
        </pc:spChg>
        <pc:spChg chg="mod">
          <ac:chgData name="Ricardo Sérgio Souza e Sousa" userId="b2322a61-6b0f-42d2-a39f-a9a5f08999e4" providerId="ADAL" clId="{5C3992CF-AFD5-456C-8977-BBD171CFEC62}" dt="2021-10-21T11:46:47.780" v="2048"/>
          <ac:spMkLst>
            <pc:docMk/>
            <pc:sldMk cId="776039832" sldId="284"/>
            <ac:spMk id="10" creationId="{00000000-0000-0000-0000-000000000000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43:48.245" v="1511"/>
          <ac:spMkLst>
            <pc:docMk/>
            <pc:sldMk cId="776039832" sldId="284"/>
            <ac:spMk id="11" creationId="{687B6BB6-3E29-4F05-8C97-EDEB6290D1E8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43:49.219" v="1556"/>
          <ac:spMkLst>
            <pc:docMk/>
            <pc:sldMk cId="776039832" sldId="284"/>
            <ac:spMk id="12" creationId="{05F6764F-360C-4FA8-8BF6-72D7BBDE9F83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43:50.756" v="1607"/>
          <ac:spMkLst>
            <pc:docMk/>
            <pc:sldMk cId="776039832" sldId="284"/>
            <ac:spMk id="13" creationId="{A2EC53AE-11F7-47FA-AC0D-B94F3DD77171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43:54.427" v="1666"/>
          <ac:spMkLst>
            <pc:docMk/>
            <pc:sldMk cId="776039832" sldId="284"/>
            <ac:spMk id="14" creationId="{D0DE75FE-071E-4435-98C8-4831A8A2DE0E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43:59.551" v="1710"/>
          <ac:spMkLst>
            <pc:docMk/>
            <pc:sldMk cId="776039832" sldId="284"/>
            <ac:spMk id="15" creationId="{5E736C45-15E8-4E06-B83D-8D6341D9F2E8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44:00.238" v="1754"/>
          <ac:spMkLst>
            <pc:docMk/>
            <pc:sldMk cId="776039832" sldId="284"/>
            <ac:spMk id="16" creationId="{E43E668A-4259-4ECE-A4A0-5B9013E55D05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46:35.509" v="1858"/>
          <ac:spMkLst>
            <pc:docMk/>
            <pc:sldMk cId="776039832" sldId="284"/>
            <ac:spMk id="17" creationId="{3ABF9C88-CAD5-4FF6-B056-A98BF11CD7DD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46:38.263" v="1912"/>
          <ac:spMkLst>
            <pc:docMk/>
            <pc:sldMk cId="776039832" sldId="284"/>
            <ac:spMk id="18" creationId="{EF21C917-9985-4C39-9903-C2FC2A9E734C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46:39.700" v="1956"/>
          <ac:spMkLst>
            <pc:docMk/>
            <pc:sldMk cId="776039832" sldId="284"/>
            <ac:spMk id="19" creationId="{859BEB05-9D70-4A03-BB89-0779464B5BE7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46:44.503" v="2000"/>
          <ac:spMkLst>
            <pc:docMk/>
            <pc:sldMk cId="776039832" sldId="284"/>
            <ac:spMk id="20" creationId="{D79FDAA5-B812-487F-BFC6-2F909E65CA74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46:45.955" v="2044"/>
          <ac:spMkLst>
            <pc:docMk/>
            <pc:sldMk cId="776039832" sldId="284"/>
            <ac:spMk id="21" creationId="{AF801F18-C37F-49C1-8DB9-8512CCC28B27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46:47.801" v="2088"/>
          <ac:spMkLst>
            <pc:docMk/>
            <pc:sldMk cId="776039832" sldId="284"/>
            <ac:spMk id="22" creationId="{4DC51123-8703-4BE7-9365-5603FCE70572}"/>
          </ac:spMkLst>
        </pc:spChg>
        <pc:graphicFrameChg chg="mod">
          <ac:chgData name="Ricardo Sérgio Souza e Sousa" userId="b2322a61-6b0f-42d2-a39f-a9a5f08999e4" providerId="ADAL" clId="{5C3992CF-AFD5-456C-8977-BBD171CFEC62}" dt="2021-10-21T11:46:47.801" v="2090"/>
          <ac:graphicFrameMkLst>
            <pc:docMk/>
            <pc:sldMk cId="776039832" sldId="284"/>
            <ac:graphicFrameMk id="5" creationId="{33137001-C74B-4119-9497-E756A350AC8F}"/>
          </ac:graphicFrameMkLst>
        </pc:graphicFrameChg>
        <pc:picChg chg="mod">
          <ac:chgData name="Ricardo Sérgio Souza e Sousa" userId="b2322a61-6b0f-42d2-a39f-a9a5f08999e4" providerId="ADAL" clId="{5C3992CF-AFD5-456C-8977-BBD171CFEC62}" dt="2021-10-21T11:44:58.377" v="1796" actId="14100"/>
          <ac:picMkLst>
            <pc:docMk/>
            <pc:sldMk cId="776039832" sldId="284"/>
            <ac:picMk id="2" creationId="{00000000-0000-0000-0000-000000000000}"/>
          </ac:picMkLst>
        </pc:picChg>
      </pc:sldChg>
      <pc:sldChg chg="modSp modAnim">
        <pc:chgData name="Ricardo Sérgio Souza e Sousa" userId="b2322a61-6b0f-42d2-a39f-a9a5f08999e4" providerId="ADAL" clId="{5C3992CF-AFD5-456C-8977-BBD171CFEC62}" dt="2021-10-21T10:28:58.832" v="95" actId="20577"/>
        <pc:sldMkLst>
          <pc:docMk/>
          <pc:sldMk cId="0" sldId="298"/>
        </pc:sldMkLst>
        <pc:spChg chg="mod">
          <ac:chgData name="Ricardo Sérgio Souza e Sousa" userId="b2322a61-6b0f-42d2-a39f-a9a5f08999e4" providerId="ADAL" clId="{5C3992CF-AFD5-456C-8977-BBD171CFEC62}" dt="2021-10-21T10:28:58.832" v="95" actId="20577"/>
          <ac:spMkLst>
            <pc:docMk/>
            <pc:sldMk cId="0" sldId="298"/>
            <ac:spMk id="124931" creationId="{5FA1E7E6-DF0E-4B49-B541-7612E40C3FD7}"/>
          </ac:spMkLst>
        </pc:spChg>
      </pc:sldChg>
      <pc:sldChg chg="modAnim">
        <pc:chgData name="Ricardo Sérgio Souza e Sousa" userId="b2322a61-6b0f-42d2-a39f-a9a5f08999e4" providerId="ADAL" clId="{5C3992CF-AFD5-456C-8977-BBD171CFEC62}" dt="2021-10-21T10:31:40.655" v="99"/>
        <pc:sldMkLst>
          <pc:docMk/>
          <pc:sldMk cId="0" sldId="306"/>
        </pc:sldMkLst>
      </pc:sldChg>
      <pc:sldChg chg="addSp delSp modSp mod addAnim delAnim modAnim">
        <pc:chgData name="Ricardo Sérgio Souza e Sousa" userId="b2322a61-6b0f-42d2-a39f-a9a5f08999e4" providerId="ADAL" clId="{5C3992CF-AFD5-456C-8977-BBD171CFEC62}" dt="2021-10-19T12:20:38.490" v="16"/>
        <pc:sldMkLst>
          <pc:docMk/>
          <pc:sldMk cId="574535771" sldId="492"/>
        </pc:sldMkLst>
        <pc:spChg chg="add del">
          <ac:chgData name="Ricardo Sérgio Souza e Sousa" userId="b2322a61-6b0f-42d2-a39f-a9a5f08999e4" providerId="ADAL" clId="{5C3992CF-AFD5-456C-8977-BBD171CFEC62}" dt="2021-10-19T12:20:01.567" v="7" actId="22"/>
          <ac:spMkLst>
            <pc:docMk/>
            <pc:sldMk cId="574535771" sldId="492"/>
            <ac:spMk id="8" creationId="{FA1B10DE-6F48-4936-86DC-4C0D31A021A4}"/>
          </ac:spMkLst>
        </pc:spChg>
        <pc:spChg chg="add mod">
          <ac:chgData name="Ricardo Sérgio Souza e Sousa" userId="b2322a61-6b0f-42d2-a39f-a9a5f08999e4" providerId="ADAL" clId="{5C3992CF-AFD5-456C-8977-BBD171CFEC62}" dt="2021-10-19T12:20:22.167" v="14" actId="1076"/>
          <ac:spMkLst>
            <pc:docMk/>
            <pc:sldMk cId="574535771" sldId="492"/>
            <ac:spMk id="9" creationId="{2391E7FA-0BFB-47A7-9FA2-D73311FAAA17}"/>
          </ac:spMkLst>
        </pc:spChg>
        <pc:spChg chg="mod">
          <ac:chgData name="Ricardo Sérgio Souza e Sousa" userId="b2322a61-6b0f-42d2-a39f-a9a5f08999e4" providerId="ADAL" clId="{5C3992CF-AFD5-456C-8977-BBD171CFEC62}" dt="2021-10-19T12:20:13.596" v="12" actId="20577"/>
          <ac:spMkLst>
            <pc:docMk/>
            <pc:sldMk cId="574535771" sldId="492"/>
            <ac:spMk id="20484" creationId="{28AA11AD-E1AB-4FD3-978D-B0B38BD553D6}"/>
          </ac:spMkLst>
        </pc:spChg>
      </pc:sldChg>
      <pc:sldChg chg="modSp modAnim">
        <pc:chgData name="Ricardo Sérgio Souza e Sousa" userId="b2322a61-6b0f-42d2-a39f-a9a5f08999e4" providerId="ADAL" clId="{5C3992CF-AFD5-456C-8977-BBD171CFEC62}" dt="2021-10-21T10:25:33.530" v="75" actId="20577"/>
        <pc:sldMkLst>
          <pc:docMk/>
          <pc:sldMk cId="2770071112" sldId="493"/>
        </pc:sldMkLst>
        <pc:spChg chg="mod">
          <ac:chgData name="Ricardo Sérgio Souza e Sousa" userId="b2322a61-6b0f-42d2-a39f-a9a5f08999e4" providerId="ADAL" clId="{5C3992CF-AFD5-456C-8977-BBD171CFEC62}" dt="2021-10-21T10:25:33.530" v="75" actId="20577"/>
          <ac:spMkLst>
            <pc:docMk/>
            <pc:sldMk cId="2770071112" sldId="493"/>
            <ac:spMk id="9" creationId="{AFC9D6AA-3E22-436E-BDC4-C510288B5E00}"/>
          </ac:spMkLst>
        </pc:spChg>
      </pc:sldChg>
      <pc:sldChg chg="ord">
        <pc:chgData name="Ricardo Sérgio Souza e Sousa" userId="b2322a61-6b0f-42d2-a39f-a9a5f08999e4" providerId="ADAL" clId="{5C3992CF-AFD5-456C-8977-BBD171CFEC62}" dt="2021-10-21T10:25:23.924" v="71"/>
        <pc:sldMkLst>
          <pc:docMk/>
          <pc:sldMk cId="1923835185" sldId="496"/>
        </pc:sldMkLst>
      </pc:sldChg>
      <pc:sldChg chg="addSp modSp mod modAnim">
        <pc:chgData name="Ricardo Sérgio Souza e Sousa" userId="b2322a61-6b0f-42d2-a39f-a9a5f08999e4" providerId="ADAL" clId="{5C3992CF-AFD5-456C-8977-BBD171CFEC62}" dt="2021-10-19T12:31:56.043" v="68"/>
        <pc:sldMkLst>
          <pc:docMk/>
          <pc:sldMk cId="510632537" sldId="497"/>
        </pc:sldMkLst>
        <pc:spChg chg="mod">
          <ac:chgData name="Ricardo Sérgio Souza e Sousa" userId="b2322a61-6b0f-42d2-a39f-a9a5f08999e4" providerId="ADAL" clId="{5C3992CF-AFD5-456C-8977-BBD171CFEC62}" dt="2021-10-19T12:31:29.650" v="63" actId="164"/>
          <ac:spMkLst>
            <pc:docMk/>
            <pc:sldMk cId="510632537" sldId="497"/>
            <ac:spMk id="7" creationId="{00000000-0000-0000-0000-000000000000}"/>
          </ac:spMkLst>
        </pc:spChg>
        <pc:spChg chg="add mod">
          <ac:chgData name="Ricardo Sérgio Souza e Sousa" userId="b2322a61-6b0f-42d2-a39f-a9a5f08999e4" providerId="ADAL" clId="{5C3992CF-AFD5-456C-8977-BBD171CFEC62}" dt="2021-10-19T12:29:25.943" v="35" actId="20577"/>
          <ac:spMkLst>
            <pc:docMk/>
            <pc:sldMk cId="510632537" sldId="497"/>
            <ac:spMk id="10" creationId="{8EEA00FA-24F1-4ED8-A81C-039DCDEC2583}"/>
          </ac:spMkLst>
        </pc:spChg>
        <pc:spChg chg="add mod">
          <ac:chgData name="Ricardo Sérgio Souza e Sousa" userId="b2322a61-6b0f-42d2-a39f-a9a5f08999e4" providerId="ADAL" clId="{5C3992CF-AFD5-456C-8977-BBD171CFEC62}" dt="2021-10-19T12:31:35.169" v="64" actId="164"/>
          <ac:spMkLst>
            <pc:docMk/>
            <pc:sldMk cId="510632537" sldId="497"/>
            <ac:spMk id="11" creationId="{8B0DECCB-2C61-406F-82D1-D1E618957925}"/>
          </ac:spMkLst>
        </pc:spChg>
        <pc:spChg chg="add mod">
          <ac:chgData name="Ricardo Sérgio Souza e Sousa" userId="b2322a61-6b0f-42d2-a39f-a9a5f08999e4" providerId="ADAL" clId="{5C3992CF-AFD5-456C-8977-BBD171CFEC62}" dt="2021-10-19T12:31:39.483" v="65" actId="164"/>
          <ac:spMkLst>
            <pc:docMk/>
            <pc:sldMk cId="510632537" sldId="497"/>
            <ac:spMk id="15" creationId="{4AE9ABD0-6B3C-43E6-A6E3-B190857CF1F1}"/>
          </ac:spMkLst>
        </pc:spChg>
        <pc:grpChg chg="add mod">
          <ac:chgData name="Ricardo Sérgio Souza e Sousa" userId="b2322a61-6b0f-42d2-a39f-a9a5f08999e4" providerId="ADAL" clId="{5C3992CF-AFD5-456C-8977-BBD171CFEC62}" dt="2021-10-19T12:31:29.650" v="63" actId="164"/>
          <ac:grpSpMkLst>
            <pc:docMk/>
            <pc:sldMk cId="510632537" sldId="497"/>
            <ac:grpSpMk id="3" creationId="{790A2132-DE13-42B6-AF2D-EC6EC4D443F7}"/>
          </ac:grpSpMkLst>
        </pc:grpChg>
        <pc:grpChg chg="add mod">
          <ac:chgData name="Ricardo Sérgio Souza e Sousa" userId="b2322a61-6b0f-42d2-a39f-a9a5f08999e4" providerId="ADAL" clId="{5C3992CF-AFD5-456C-8977-BBD171CFEC62}" dt="2021-10-19T12:31:35.169" v="64" actId="164"/>
          <ac:grpSpMkLst>
            <pc:docMk/>
            <pc:sldMk cId="510632537" sldId="497"/>
            <ac:grpSpMk id="8" creationId="{BDF91EB5-8B47-4A06-B3F1-2DF87E0F0EC6}"/>
          </ac:grpSpMkLst>
        </pc:grpChg>
        <pc:grpChg chg="add mod">
          <ac:chgData name="Ricardo Sérgio Souza e Sousa" userId="b2322a61-6b0f-42d2-a39f-a9a5f08999e4" providerId="ADAL" clId="{5C3992CF-AFD5-456C-8977-BBD171CFEC62}" dt="2021-10-19T12:31:39.483" v="65" actId="164"/>
          <ac:grpSpMkLst>
            <pc:docMk/>
            <pc:sldMk cId="510632537" sldId="497"/>
            <ac:grpSpMk id="9" creationId="{3B8C5298-C39F-450D-AF96-F0280CA63E65}"/>
          </ac:grpSpMkLst>
        </pc:grpChg>
        <pc:picChg chg="mod">
          <ac:chgData name="Ricardo Sérgio Souza e Sousa" userId="b2322a61-6b0f-42d2-a39f-a9a5f08999e4" providerId="ADAL" clId="{5C3992CF-AFD5-456C-8977-BBD171CFEC62}" dt="2021-10-19T12:31:35.169" v="64" actId="164"/>
          <ac:picMkLst>
            <pc:docMk/>
            <pc:sldMk cId="510632537" sldId="497"/>
            <ac:picMk id="12" creationId="{9CC47AFE-0029-4395-9F5F-EE6F32209504}"/>
          </ac:picMkLst>
        </pc:picChg>
        <pc:picChg chg="mod">
          <ac:chgData name="Ricardo Sérgio Souza e Sousa" userId="b2322a61-6b0f-42d2-a39f-a9a5f08999e4" providerId="ADAL" clId="{5C3992CF-AFD5-456C-8977-BBD171CFEC62}" dt="2021-10-19T12:31:29.650" v="63" actId="164"/>
          <ac:picMkLst>
            <pc:docMk/>
            <pc:sldMk cId="510632537" sldId="497"/>
            <ac:picMk id="13" creationId="{5C01DC3B-A366-4C2D-B2E0-0806C6A6125D}"/>
          </ac:picMkLst>
        </pc:picChg>
        <pc:picChg chg="mod">
          <ac:chgData name="Ricardo Sérgio Souza e Sousa" userId="b2322a61-6b0f-42d2-a39f-a9a5f08999e4" providerId="ADAL" clId="{5C3992CF-AFD5-456C-8977-BBD171CFEC62}" dt="2021-10-19T12:31:39.483" v="65" actId="164"/>
          <ac:picMkLst>
            <pc:docMk/>
            <pc:sldMk cId="510632537" sldId="497"/>
            <ac:picMk id="14" creationId="{0E82742E-40E7-4FE9-BB06-5D43496B1F0D}"/>
          </ac:picMkLst>
        </pc:picChg>
      </pc:sldChg>
      <pc:sldChg chg="modAnim">
        <pc:chgData name="Ricardo Sérgio Souza e Sousa" userId="b2322a61-6b0f-42d2-a39f-a9a5f08999e4" providerId="ADAL" clId="{5C3992CF-AFD5-456C-8977-BBD171CFEC62}" dt="2021-10-21T10:50:07.118" v="100"/>
        <pc:sldMkLst>
          <pc:docMk/>
          <pc:sldMk cId="2011170470" sldId="499"/>
        </pc:sldMkLst>
      </pc:sldChg>
      <pc:sldChg chg="modAnim">
        <pc:chgData name="Ricardo Sérgio Souza e Sousa" userId="b2322a61-6b0f-42d2-a39f-a9a5f08999e4" providerId="ADAL" clId="{5C3992CF-AFD5-456C-8977-BBD171CFEC62}" dt="2021-10-21T11:35:36.703" v="685"/>
        <pc:sldMkLst>
          <pc:docMk/>
          <pc:sldMk cId="3566377165" sldId="500"/>
        </pc:sldMkLst>
      </pc:sldChg>
      <pc:sldChg chg="modSp modAnim">
        <pc:chgData name="Ricardo Sérgio Souza e Sousa" userId="b2322a61-6b0f-42d2-a39f-a9a5f08999e4" providerId="ADAL" clId="{5C3992CF-AFD5-456C-8977-BBD171CFEC62}" dt="2021-10-21T11:38:01.358" v="804" actId="20577"/>
        <pc:sldMkLst>
          <pc:docMk/>
          <pc:sldMk cId="1658997101" sldId="504"/>
        </pc:sldMkLst>
        <pc:spChg chg="mod">
          <ac:chgData name="Ricardo Sérgio Souza e Sousa" userId="b2322a61-6b0f-42d2-a39f-a9a5f08999e4" providerId="ADAL" clId="{5C3992CF-AFD5-456C-8977-BBD171CFEC62}" dt="2021-10-21T11:38:01.358" v="804" actId="20577"/>
          <ac:spMkLst>
            <pc:docMk/>
            <pc:sldMk cId="1658997101" sldId="504"/>
            <ac:spMk id="6" creationId="{00000000-0000-0000-0000-000000000000}"/>
          </ac:spMkLst>
        </pc:spChg>
      </pc:sldChg>
      <pc:sldChg chg="modSp mod">
        <pc:chgData name="Ricardo Sérgio Souza e Sousa" userId="b2322a61-6b0f-42d2-a39f-a9a5f08999e4" providerId="ADAL" clId="{5C3992CF-AFD5-456C-8977-BBD171CFEC62}" dt="2021-10-21T11:38:10.548" v="806" actId="20577"/>
        <pc:sldMkLst>
          <pc:docMk/>
          <pc:sldMk cId="3306047729" sldId="505"/>
        </pc:sldMkLst>
        <pc:spChg chg="mod">
          <ac:chgData name="Ricardo Sérgio Souza e Sousa" userId="b2322a61-6b0f-42d2-a39f-a9a5f08999e4" providerId="ADAL" clId="{5C3992CF-AFD5-456C-8977-BBD171CFEC62}" dt="2021-10-21T11:38:10.548" v="806" actId="20577"/>
          <ac:spMkLst>
            <pc:docMk/>
            <pc:sldMk cId="3306047729" sldId="505"/>
            <ac:spMk id="5" creationId="{4AEE9001-908F-46F1-8EAD-C89574AA6CBF}"/>
          </ac:spMkLst>
        </pc:spChg>
      </pc:sldChg>
      <pc:sldChg chg="modSp mod">
        <pc:chgData name="Ricardo Sérgio Souza e Sousa" userId="b2322a61-6b0f-42d2-a39f-a9a5f08999e4" providerId="ADAL" clId="{5C3992CF-AFD5-456C-8977-BBD171CFEC62}" dt="2021-10-21T11:38:13.311" v="808" actId="20577"/>
        <pc:sldMkLst>
          <pc:docMk/>
          <pc:sldMk cId="542743496" sldId="506"/>
        </pc:sldMkLst>
        <pc:spChg chg="mod">
          <ac:chgData name="Ricardo Sérgio Souza e Sousa" userId="b2322a61-6b0f-42d2-a39f-a9a5f08999e4" providerId="ADAL" clId="{5C3992CF-AFD5-456C-8977-BBD171CFEC62}" dt="2021-10-21T11:38:13.311" v="808" actId="20577"/>
          <ac:spMkLst>
            <pc:docMk/>
            <pc:sldMk cId="542743496" sldId="506"/>
            <ac:spMk id="6" creationId="{27C4A5D4-F465-4074-8654-B550362DFE4C}"/>
          </ac:spMkLst>
        </pc:spChg>
      </pc:sldChg>
      <pc:sldChg chg="modSp mod">
        <pc:chgData name="Ricardo Sérgio Souza e Sousa" userId="b2322a61-6b0f-42d2-a39f-a9a5f08999e4" providerId="ADAL" clId="{5C3992CF-AFD5-456C-8977-BBD171CFEC62}" dt="2021-10-21T11:38:16.053" v="810" actId="20577"/>
        <pc:sldMkLst>
          <pc:docMk/>
          <pc:sldMk cId="3325210691" sldId="507"/>
        </pc:sldMkLst>
        <pc:spChg chg="mod">
          <ac:chgData name="Ricardo Sérgio Souza e Sousa" userId="b2322a61-6b0f-42d2-a39f-a9a5f08999e4" providerId="ADAL" clId="{5C3992CF-AFD5-456C-8977-BBD171CFEC62}" dt="2021-10-21T11:38:16.053" v="810" actId="20577"/>
          <ac:spMkLst>
            <pc:docMk/>
            <pc:sldMk cId="3325210691" sldId="507"/>
            <ac:spMk id="6" creationId="{70F65A73-AF1B-44A6-AFCC-900FA1543B33}"/>
          </ac:spMkLst>
        </pc:spChg>
      </pc:sldChg>
      <pc:sldChg chg="modSp mod">
        <pc:chgData name="Ricardo Sérgio Souza e Sousa" userId="b2322a61-6b0f-42d2-a39f-a9a5f08999e4" providerId="ADAL" clId="{5C3992CF-AFD5-456C-8977-BBD171CFEC62}" dt="2021-10-21T11:38:19.469" v="812" actId="20577"/>
        <pc:sldMkLst>
          <pc:docMk/>
          <pc:sldMk cId="1380686034" sldId="508"/>
        </pc:sldMkLst>
        <pc:spChg chg="mod">
          <ac:chgData name="Ricardo Sérgio Souza e Sousa" userId="b2322a61-6b0f-42d2-a39f-a9a5f08999e4" providerId="ADAL" clId="{5C3992CF-AFD5-456C-8977-BBD171CFEC62}" dt="2021-10-21T11:38:19.469" v="812" actId="20577"/>
          <ac:spMkLst>
            <pc:docMk/>
            <pc:sldMk cId="1380686034" sldId="508"/>
            <ac:spMk id="6" creationId="{4591A4DE-1535-4599-A894-3DAA11784443}"/>
          </ac:spMkLst>
        </pc:spChg>
      </pc:sldChg>
      <pc:sldChg chg="addSp delSp modSp mod modAnim">
        <pc:chgData name="Ricardo Sérgio Souza e Sousa" userId="b2322a61-6b0f-42d2-a39f-a9a5f08999e4" providerId="ADAL" clId="{5C3992CF-AFD5-456C-8977-BBD171CFEC62}" dt="2021-10-21T11:41:07.901" v="1091"/>
        <pc:sldMkLst>
          <pc:docMk/>
          <pc:sldMk cId="476993152" sldId="509"/>
        </pc:sldMkLst>
        <pc:spChg chg="add del mod modVis">
          <ac:chgData name="Ricardo Sérgio Souza e Sousa" userId="b2322a61-6b0f-42d2-a39f-a9a5f08999e4" providerId="ADAL" clId="{5C3992CF-AFD5-456C-8977-BBD171CFEC62}" dt="2021-10-21T11:39:01.639" v="868"/>
          <ac:spMkLst>
            <pc:docMk/>
            <pc:sldMk cId="476993152" sldId="509"/>
            <ac:spMk id="2" creationId="{564E21F8-5379-4103-8079-035900C86E78}"/>
          </ac:spMkLst>
        </pc:spChg>
        <pc:spChg chg="mod">
          <ac:chgData name="Ricardo Sérgio Souza e Sousa" userId="b2322a61-6b0f-42d2-a39f-a9a5f08999e4" providerId="ADAL" clId="{5C3992CF-AFD5-456C-8977-BBD171CFEC62}" dt="2021-10-21T11:39:09.758" v="1009" actId="948"/>
          <ac:spMkLst>
            <pc:docMk/>
            <pc:sldMk cId="476993152" sldId="509"/>
            <ac:spMk id="4" creationId="{00000000-0000-0000-0000-000000000000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39:04.777" v="913"/>
          <ac:spMkLst>
            <pc:docMk/>
            <pc:sldMk cId="476993152" sldId="509"/>
            <ac:spMk id="6" creationId="{7C689CD3-43AC-403C-9686-4160F645B5DB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39:05.942" v="959"/>
          <ac:spMkLst>
            <pc:docMk/>
            <pc:sldMk cId="476993152" sldId="509"/>
            <ac:spMk id="7" creationId="{D15B6806-6A0A-43D0-881E-4CF52CF391C5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39:07.720" v="1004"/>
          <ac:spMkLst>
            <pc:docMk/>
            <pc:sldMk cId="476993152" sldId="509"/>
            <ac:spMk id="8" creationId="{834747C3-1969-4401-B8B5-721018496355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39:09.788" v="1049"/>
          <ac:spMkLst>
            <pc:docMk/>
            <pc:sldMk cId="476993152" sldId="509"/>
            <ac:spMk id="9" creationId="{50CB6981-6ED4-4228-88DE-2410D800D431}"/>
          </ac:spMkLst>
        </pc:spChg>
        <pc:graphicFrameChg chg="mod">
          <ac:chgData name="Ricardo Sérgio Souza e Sousa" userId="b2322a61-6b0f-42d2-a39f-a9a5f08999e4" providerId="ADAL" clId="{5C3992CF-AFD5-456C-8977-BBD171CFEC62}" dt="2021-10-21T11:39:09.788" v="1051"/>
          <ac:graphicFrameMkLst>
            <pc:docMk/>
            <pc:sldMk cId="476993152" sldId="509"/>
            <ac:graphicFrameMk id="3" creationId="{5835A4CE-925C-481F-BFA0-CAB876B78D4A}"/>
          </ac:graphicFrameMkLst>
        </pc:graphicFrameChg>
      </pc:sldChg>
      <pc:sldChg chg="modSp mod modAnim">
        <pc:chgData name="Ricardo Sérgio Souza e Sousa" userId="b2322a61-6b0f-42d2-a39f-a9a5f08999e4" providerId="ADAL" clId="{5C3992CF-AFD5-456C-8977-BBD171CFEC62}" dt="2021-10-21T11:41:47.961" v="1095"/>
        <pc:sldMkLst>
          <pc:docMk/>
          <pc:sldMk cId="1022195537" sldId="510"/>
        </pc:sldMkLst>
        <pc:spChg chg="mod">
          <ac:chgData name="Ricardo Sérgio Souza e Sousa" userId="b2322a61-6b0f-42d2-a39f-a9a5f08999e4" providerId="ADAL" clId="{5C3992CF-AFD5-456C-8977-BBD171CFEC62}" dt="2021-10-21T11:39:22.372" v="1067" actId="20577"/>
          <ac:spMkLst>
            <pc:docMk/>
            <pc:sldMk cId="1022195537" sldId="510"/>
            <ac:spMk id="7" creationId="{2ACA4D2A-9208-4616-9698-09FB6E9535E5}"/>
          </ac:spMkLst>
        </pc:spChg>
      </pc:sldChg>
      <pc:sldChg chg="modSp mod modAnim">
        <pc:chgData name="Ricardo Sérgio Souza e Sousa" userId="b2322a61-6b0f-42d2-a39f-a9a5f08999e4" providerId="ADAL" clId="{5C3992CF-AFD5-456C-8977-BBD171CFEC62}" dt="2021-10-21T11:42:03.571" v="1099"/>
        <pc:sldMkLst>
          <pc:docMk/>
          <pc:sldMk cId="3740257845" sldId="511"/>
        </pc:sldMkLst>
        <pc:spChg chg="mod">
          <ac:chgData name="Ricardo Sérgio Souza e Sousa" userId="b2322a61-6b0f-42d2-a39f-a9a5f08999e4" providerId="ADAL" clId="{5C3992CF-AFD5-456C-8977-BBD171CFEC62}" dt="2021-10-21T11:39:29.421" v="1083" actId="20577"/>
          <ac:spMkLst>
            <pc:docMk/>
            <pc:sldMk cId="3740257845" sldId="511"/>
            <ac:spMk id="6" creationId="{64E88266-AC2D-4518-BFF4-0AF3EB5F64D1}"/>
          </ac:spMkLst>
        </pc:spChg>
      </pc:sldChg>
      <pc:sldChg chg="addSp delSp modSp mod ord modAnim">
        <pc:chgData name="Ricardo Sérgio Souza e Sousa" userId="b2322a61-6b0f-42d2-a39f-a9a5f08999e4" providerId="ADAL" clId="{5C3992CF-AFD5-456C-8977-BBD171CFEC62}" dt="2021-10-21T11:35:53.304" v="686"/>
        <pc:sldMkLst>
          <pc:docMk/>
          <pc:sldMk cId="3909939540" sldId="512"/>
        </pc:sldMkLst>
        <pc:spChg chg="add del mod modVis">
          <ac:chgData name="Ricardo Sérgio Souza e Sousa" userId="b2322a61-6b0f-42d2-a39f-a9a5f08999e4" providerId="ADAL" clId="{5C3992CF-AFD5-456C-8977-BBD171CFEC62}" dt="2021-10-21T11:25:27.258" v="149"/>
          <ac:spMkLst>
            <pc:docMk/>
            <pc:sldMk cId="3909939540" sldId="512"/>
            <ac:spMk id="3" creationId="{EEB74A69-9CF0-44A1-837D-BACBE7F6D32E}"/>
          </ac:spMkLst>
        </pc:spChg>
        <pc:spChg chg="mod">
          <ac:chgData name="Ricardo Sérgio Souza e Sousa" userId="b2322a61-6b0f-42d2-a39f-a9a5f08999e4" providerId="ADAL" clId="{5C3992CF-AFD5-456C-8977-BBD171CFEC62}" dt="2021-10-21T11:26:23.005" v="511" actId="948"/>
          <ac:spMkLst>
            <pc:docMk/>
            <pc:sldMk cId="3909939540" sldId="512"/>
            <ac:spMk id="4" creationId="{00000000-0000-0000-0000-000000000000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25:34.071" v="210"/>
          <ac:spMkLst>
            <pc:docMk/>
            <pc:sldMk cId="3909939540" sldId="512"/>
            <ac:spMk id="7" creationId="{3952E369-E1AC-437A-9165-CEE9BD779098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25:41.387" v="254"/>
          <ac:spMkLst>
            <pc:docMk/>
            <pc:sldMk cId="3909939540" sldId="512"/>
            <ac:spMk id="8" creationId="{22A93F54-F926-4CA7-8321-EBC7F75A8AA3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25:43.180" v="299"/>
          <ac:spMkLst>
            <pc:docMk/>
            <pc:sldMk cId="3909939540" sldId="512"/>
            <ac:spMk id="9" creationId="{F3099D43-70CA-40A6-8F88-F00BDBB99A79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25:54.218" v="344"/>
          <ac:spMkLst>
            <pc:docMk/>
            <pc:sldMk cId="3909939540" sldId="512"/>
            <ac:spMk id="10" creationId="{8848E4DB-FC04-4098-BA92-3BD02A686E2F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26:14.511" v="388"/>
          <ac:spMkLst>
            <pc:docMk/>
            <pc:sldMk cId="3909939540" sldId="512"/>
            <ac:spMk id="11" creationId="{0BB79197-BCC9-4187-8520-0F2F5FEFE3A0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26:18.641" v="450"/>
          <ac:spMkLst>
            <pc:docMk/>
            <pc:sldMk cId="3909939540" sldId="512"/>
            <ac:spMk id="12" creationId="{6EF6EC4A-F678-431F-A0E5-F16514324E21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26:20.882" v="499"/>
          <ac:spMkLst>
            <pc:docMk/>
            <pc:sldMk cId="3909939540" sldId="512"/>
            <ac:spMk id="13" creationId="{901BA947-8EDE-4399-9678-05515F710CD3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26:23.036" v="551"/>
          <ac:spMkLst>
            <pc:docMk/>
            <pc:sldMk cId="3909939540" sldId="512"/>
            <ac:spMk id="14" creationId="{32E1808A-E0DE-4B17-8F1A-5B609D3E9748}"/>
          </ac:spMkLst>
        </pc:spChg>
        <pc:graphicFrameChg chg="mod">
          <ac:chgData name="Ricardo Sérgio Souza e Sousa" userId="b2322a61-6b0f-42d2-a39f-a9a5f08999e4" providerId="ADAL" clId="{5C3992CF-AFD5-456C-8977-BBD171CFEC62}" dt="2021-10-21T11:26:23.036" v="553"/>
          <ac:graphicFrameMkLst>
            <pc:docMk/>
            <pc:sldMk cId="3909939540" sldId="512"/>
            <ac:graphicFrameMk id="5" creationId="{C8C41737-AA8C-494F-B2EC-5E49E873840B}"/>
          </ac:graphicFrameMkLst>
        </pc:graphicFrameChg>
      </pc:sldChg>
      <pc:sldChg chg="addSp delSp modSp mod modAnim">
        <pc:chgData name="Ricardo Sérgio Souza e Sousa" userId="b2322a61-6b0f-42d2-a39f-a9a5f08999e4" providerId="ADAL" clId="{5C3992CF-AFD5-456C-8977-BBD171CFEC62}" dt="2021-10-21T11:36:54.098" v="792"/>
        <pc:sldMkLst>
          <pc:docMk/>
          <pc:sldMk cId="3856030827" sldId="517"/>
        </pc:sldMkLst>
        <pc:spChg chg="mod">
          <ac:chgData name="Ricardo Sérgio Souza e Sousa" userId="b2322a61-6b0f-42d2-a39f-a9a5f08999e4" providerId="ADAL" clId="{5C3992CF-AFD5-456C-8977-BBD171CFEC62}" dt="2021-10-21T11:36:54.067" v="750"/>
          <ac:spMkLst>
            <pc:docMk/>
            <pc:sldMk cId="3856030827" sldId="517"/>
            <ac:spMk id="2" creationId="{00000000-0000-0000-0000-000000000000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36:52.376" v="740"/>
          <ac:spMkLst>
            <pc:docMk/>
            <pc:sldMk cId="3856030827" sldId="517"/>
            <ac:spMk id="3" creationId="{DDF2B92F-EE38-433E-924B-E7EA21D00A26}"/>
          </ac:spMkLst>
        </pc:spChg>
        <pc:spChg chg="add del mod modVis">
          <ac:chgData name="Ricardo Sérgio Souza e Sousa" userId="b2322a61-6b0f-42d2-a39f-a9a5f08999e4" providerId="ADAL" clId="{5C3992CF-AFD5-456C-8977-BBD171CFEC62}" dt="2021-10-21T11:36:54.098" v="790"/>
          <ac:spMkLst>
            <pc:docMk/>
            <pc:sldMk cId="3856030827" sldId="517"/>
            <ac:spMk id="5" creationId="{B5FE8E6E-866C-44C7-9618-FE671B4BADDC}"/>
          </ac:spMkLst>
        </pc:spChg>
        <pc:graphicFrameChg chg="mod">
          <ac:chgData name="Ricardo Sérgio Souza e Sousa" userId="b2322a61-6b0f-42d2-a39f-a9a5f08999e4" providerId="ADAL" clId="{5C3992CF-AFD5-456C-8977-BBD171CFEC62}" dt="2021-10-21T11:36:54.098" v="792"/>
          <ac:graphicFrameMkLst>
            <pc:docMk/>
            <pc:sldMk cId="3856030827" sldId="517"/>
            <ac:graphicFrameMk id="4" creationId="{B3183630-85FA-423B-B4CC-2861025CB2B2}"/>
          </ac:graphicFrameMkLst>
        </pc:graphicFrameChg>
      </pc:sldChg>
      <pc:sldChg chg="modSp add modAnim">
        <pc:chgData name="Ricardo Sérgio Souza e Sousa" userId="b2322a61-6b0f-42d2-a39f-a9a5f08999e4" providerId="ADAL" clId="{5C3992CF-AFD5-456C-8977-BBD171CFEC62}" dt="2021-10-21T10:26:44.784" v="83"/>
        <pc:sldMkLst>
          <pc:docMk/>
          <pc:sldMk cId="904378504" sldId="518"/>
        </pc:sldMkLst>
        <pc:spChg chg="mod">
          <ac:chgData name="Ricardo Sérgio Souza e Sousa" userId="b2322a61-6b0f-42d2-a39f-a9a5f08999e4" providerId="ADAL" clId="{5C3992CF-AFD5-456C-8977-BBD171CFEC62}" dt="2021-10-21T10:26:26.811" v="82" actId="207"/>
          <ac:spMkLst>
            <pc:docMk/>
            <pc:sldMk cId="904378504" sldId="518"/>
            <ac:spMk id="9" creationId="{AFC9D6AA-3E22-436E-BDC4-C510288B5E00}"/>
          </ac:spMkLst>
        </pc:spChg>
      </pc:sldChg>
      <pc:sldChg chg="addSp delSp modSp add mod modAnim">
        <pc:chgData name="Ricardo Sérgio Souza e Sousa" userId="b2322a61-6b0f-42d2-a39f-a9a5f08999e4" providerId="ADAL" clId="{5C3992CF-AFD5-456C-8977-BBD171CFEC62}" dt="2021-10-21T11:37:53.598" v="800" actId="207"/>
        <pc:sldMkLst>
          <pc:docMk/>
          <pc:sldMk cId="544420798" sldId="519"/>
        </pc:sldMkLst>
        <pc:spChg chg="add del mod">
          <ac:chgData name="Ricardo Sérgio Souza e Sousa" userId="b2322a61-6b0f-42d2-a39f-a9a5f08999e4" providerId="ADAL" clId="{5C3992CF-AFD5-456C-8977-BBD171CFEC62}" dt="2021-10-21T11:37:53.598" v="800" actId="207"/>
          <ac:spMkLst>
            <pc:docMk/>
            <pc:sldMk cId="544420798" sldId="519"/>
            <ac:spMk id="6" creationId="{00000000-0000-0000-0000-000000000000}"/>
          </ac:spMkLst>
        </pc:spChg>
        <pc:picChg chg="del">
          <ac:chgData name="Ricardo Sérgio Souza e Sousa" userId="b2322a61-6b0f-42d2-a39f-a9a5f08999e4" providerId="ADAL" clId="{5C3992CF-AFD5-456C-8977-BBD171CFEC62}" dt="2021-10-21T11:33:30.088" v="559" actId="478"/>
          <ac:picMkLst>
            <pc:docMk/>
            <pc:sldMk cId="544420798" sldId="519"/>
            <ac:picMk id="2" creationId="{00000000-0000-0000-0000-000000000000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ço Reservado para Cabeçalh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3" name="Espaço Reservado para Dat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3B595C2-A501-4AB8-A2BB-C9FA7EB7872F}" type="datetimeFigureOut">
              <a:rPr lang="pt-BR"/>
              <a:t>18/12/2023</a:t>
            </a:fld>
            <a:endParaRPr lang="pt-BR"/>
          </a:p>
        </p:txBody>
      </p:sp>
      <p:sp>
        <p:nvSpPr>
          <p:cNvPr id="4" name="Espaço Reservado para Imagem de Sli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pt-BR"/>
          </a:p>
        </p:txBody>
      </p:sp>
      <p:sp>
        <p:nvSpPr>
          <p:cNvPr id="5" name="Espaço Reservado para Anotaçõe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pt-BR"/>
              <a:t>Clique para editar os estilos de texto Mestres</a:t>
            </a:r>
          </a:p>
          <a:p>
            <a:pPr lvl="1"/>
            <a:r>
              <a:rPr lang="pt-BR"/>
              <a:t>Segundo nível</a:t>
            </a:r>
          </a:p>
          <a:p>
            <a:pPr lvl="2"/>
            <a:r>
              <a:rPr lang="pt-BR"/>
              <a:t>Terceiro nível</a:t>
            </a:r>
          </a:p>
          <a:p>
            <a:pPr lvl="3"/>
            <a:r>
              <a:rPr lang="pt-BR"/>
              <a:t>Quarto nível</a:t>
            </a:r>
          </a:p>
          <a:p>
            <a:pPr lvl="4"/>
            <a:r>
              <a:rPr lang="pt-BR"/>
              <a:t>Quinto nível</a:t>
            </a:r>
          </a:p>
        </p:txBody>
      </p:sp>
      <p:sp>
        <p:nvSpPr>
          <p:cNvPr id="6" name="Espaço Reservado para Rodapé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pt-BR"/>
          </a:p>
        </p:txBody>
      </p:sp>
      <p:sp>
        <p:nvSpPr>
          <p:cNvPr id="7" name="Espaço Reservado para Número de Slide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09679AA-D085-4427-A4D8-99094F3DFD0C}" type="slidenum">
              <a:rPr lang="pt-BR"/>
              <a:t>‹nº›</a:t>
            </a:fld>
            <a:endParaRPr lang="pt-BR"/>
          </a:p>
        </p:txBody>
      </p:sp>
    </p:spTree>
    <p:extLst>
      <p:ext uri="{BB962C8B-B14F-4D97-AF65-F5344CB8AC3E}">
        <p14:creationId xmlns:p14="http://schemas.microsoft.com/office/powerpoint/2010/main" val="317382236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 cover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9" name="Line 11"/>
          <p:cNvSpPr>
            <a:spLocks noChangeShapeType="1"/>
          </p:cNvSpPr>
          <p:nvPr userDrawn="1">
            <p:custDataLst>
              <p:tags r:id="rId1"/>
            </p:custDataLst>
          </p:nvPr>
        </p:nvSpPr>
        <p:spPr bwMode="gray">
          <a:xfrm flipH="1">
            <a:off x="1078117" y="2653085"/>
            <a:ext cx="1671" cy="3872380"/>
          </a:xfrm>
          <a:prstGeom prst="line">
            <a:avLst/>
          </a:prstGeom>
          <a:noFill/>
          <a:ln w="9525">
            <a:solidFill>
              <a:srgbClr val="B9840F"/>
            </a:solidFill>
            <a:round/>
            <a:headEnd/>
            <a:tailEnd/>
          </a:ln>
        </p:spPr>
        <p:txBody>
          <a:bodyPr wrap="none" lIns="0" tIns="0" rIns="0" bIns="0" anchor="b"/>
          <a:lstStyle/>
          <a:p>
            <a:pPr defTabSz="912728" fontAlgn="base">
              <a:spcBef>
                <a:spcPct val="0"/>
              </a:spcBef>
              <a:spcAft>
                <a:spcPct val="0"/>
              </a:spcAft>
            </a:pPr>
            <a:endParaRPr lang="en-GB" sz="1000" dirty="0">
              <a:solidFill>
                <a:prstClr val="black"/>
              </a:solidFill>
            </a:endParaRPr>
          </a:p>
        </p:txBody>
      </p:sp>
      <p:pic>
        <p:nvPicPr>
          <p:cNvPr id="67" name="Picture 8"/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78117" y="1504677"/>
            <a:ext cx="2667065" cy="10254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9" name="Espace réservé du contenu 9"/>
          <p:cNvSpPr>
            <a:spLocks noGrp="1"/>
          </p:cNvSpPr>
          <p:nvPr>
            <p:ph sz="quarter" idx="13" hasCustomPrompt="1"/>
          </p:nvPr>
        </p:nvSpPr>
        <p:spPr>
          <a:xfrm>
            <a:off x="1078523" y="2652713"/>
            <a:ext cx="10033184" cy="366712"/>
          </a:xfrm>
          <a:prstGeom prst="rect">
            <a:avLst/>
          </a:prstGeom>
          <a:solidFill>
            <a:srgbClr val="227354"/>
          </a:solidFill>
        </p:spPr>
        <p:txBody>
          <a:bodyPr lIns="201600" tIns="0" rIns="1800000" bIns="0" anchor="ctr" anchorCtr="0">
            <a:normAutofit/>
          </a:bodyPr>
          <a:lstStyle>
            <a:lvl1pPr>
              <a:defRPr sz="1100" b="1">
                <a:solidFill>
                  <a:schemeClr val="bg1"/>
                </a:solidFill>
                <a:latin typeface="+mj-lt"/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fr-FR" dirty="0"/>
              <a:t>Edit </a:t>
            </a:r>
            <a:r>
              <a:rPr lang="fr-FR" dirty="0" err="1"/>
              <a:t>Title</a:t>
            </a:r>
            <a:endParaRPr lang="en-GB" dirty="0"/>
          </a:p>
        </p:txBody>
      </p:sp>
      <p:graphicFrame>
        <p:nvGraphicFramePr>
          <p:cNvPr id="9" name="Tabela 8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766317510"/>
              </p:ext>
            </p:extLst>
          </p:nvPr>
        </p:nvGraphicFramePr>
        <p:xfrm>
          <a:off x="-1877836" y="222241"/>
          <a:ext cx="1440000" cy="612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60000">
                <a:tc gridSpan="4">
                  <a:txBody>
                    <a:bodyPr/>
                    <a:lstStyle/>
                    <a:p>
                      <a:pPr algn="ctr"/>
                      <a:r>
                        <a:rPr lang="pt-BR" sz="1000" dirty="0" err="1"/>
                        <a:t>Colour</a:t>
                      </a:r>
                      <a:r>
                        <a:rPr lang="pt-BR" sz="1000" dirty="0"/>
                        <a:t> </a:t>
                      </a:r>
                      <a:r>
                        <a:rPr lang="pt-BR" sz="1000" dirty="0" err="1"/>
                        <a:t>Pallete</a:t>
                      </a:r>
                      <a:endParaRPr lang="en-GB" sz="1000" dirty="0"/>
                    </a:p>
                  </a:txBody>
                  <a:tcPr anchor="ctr">
                    <a:lnB w="12700" cmpd="sng"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R</a:t>
                      </a:r>
                      <a:endParaRPr lang="en-GB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G</a:t>
                      </a:r>
                      <a:endParaRPr lang="en-GB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B</a:t>
                      </a:r>
                      <a:endParaRPr lang="en-GB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573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9</a:t>
                      </a:r>
                      <a:endParaRPr lang="en-GB" sz="8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87</a:t>
                      </a:r>
                      <a:endParaRPr lang="en-GB" sz="8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53</a:t>
                      </a:r>
                      <a:endParaRPr lang="en-GB" sz="8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137B5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</a:t>
                      </a:r>
                      <a:endParaRPr lang="en-GB" sz="800" dirty="0"/>
                    </a:p>
                  </a:txBody>
                  <a:tcPr anchor="ctr"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23</a:t>
                      </a:r>
                      <a:endParaRPr lang="en-GB" sz="800" dirty="0"/>
                    </a:p>
                  </a:txBody>
                  <a:tcPr anchor="ctr"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86</a:t>
                      </a:r>
                      <a:endParaRPr lang="en-GB" sz="800" dirty="0"/>
                    </a:p>
                  </a:txBody>
                  <a:tcPr anchor="ctr">
                    <a:lnT w="12700" cmpd="sng">
                      <a:noFill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5B877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9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3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14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9BBBA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5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87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72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AE951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74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49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4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A69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6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3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8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E28C0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2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4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E2D8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2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1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7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0D2B5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4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8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4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17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82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78ADD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2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7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2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C0D5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2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1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4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18171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4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9E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58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95708158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extLst>
    <p:ext uri="{DCECCB84-F9BA-43D5-87BE-67443E8EF086}">
      <p15:sldGuideLst xmlns:p15="http://schemas.microsoft.com/office/powerpoint/2012/main">
        <p15:guide id="1" pos="82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5" name="Straight Connector 24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 flipH="1">
            <a:off x="778488" y="1772816"/>
            <a:ext cx="10678866" cy="0"/>
          </a:xfrm>
          <a:prstGeom prst="line">
            <a:avLst/>
          </a:prstGeom>
          <a:noFill/>
          <a:ln w="9525" algn="ctr">
            <a:solidFill>
              <a:srgbClr val="B9840F"/>
            </a:solidFill>
            <a:round/>
            <a:headEnd/>
            <a:tailEnd/>
          </a:ln>
        </p:spPr>
      </p:cxnSp>
      <p:sp>
        <p:nvSpPr>
          <p:cNvPr id="6" name="jpmDocTracker">
            <a:extLst>
              <a:ext uri="{FF2B5EF4-FFF2-40B4-BE49-F238E27FC236}">
                <a16:creationId xmlns:a16="http://schemas.microsoft.com/office/drawing/2014/main" id="{F5C0C60C-C54A-4D5F-919F-DB27EE90C5D0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auto">
          <a:xfrm>
            <a:off x="7546841" y="6579262"/>
            <a:ext cx="4168700" cy="24187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 anchor="ctr" anchorCtr="0"/>
          <a:lstStyle/>
          <a:p>
            <a:pPr algn="r" defTabSz="912728" eaLnBrk="0" fontAlgn="base" hangingPunct="0">
              <a:lnSpc>
                <a:spcPts val="1052"/>
              </a:lnSpc>
              <a:spcBef>
                <a:spcPct val="0"/>
              </a:spcBef>
              <a:spcAft>
                <a:spcPct val="0"/>
              </a:spcAft>
            </a:pPr>
            <a:r>
              <a:rPr lang="pt-BR" sz="600" dirty="0">
                <a:solidFill>
                  <a:srgbClr val="6D6E71"/>
                </a:solidFill>
              </a:rPr>
              <a:t>INFORMAÇÕES CONFIDENCIAIS</a:t>
            </a:r>
            <a:endParaRPr lang="en-US" sz="600" dirty="0">
              <a:solidFill>
                <a:srgbClr val="6D6E71"/>
              </a:solidFill>
            </a:endParaRPr>
          </a:p>
        </p:txBody>
      </p:sp>
      <p:cxnSp>
        <p:nvCxnSpPr>
          <p:cNvPr id="7" name="Straight Connector 24">
            <a:extLst>
              <a:ext uri="{FF2B5EF4-FFF2-40B4-BE49-F238E27FC236}">
                <a16:creationId xmlns:a16="http://schemas.microsoft.com/office/drawing/2014/main" id="{F5E37CBF-07D7-45ED-97C1-041D0A816F7B}"/>
              </a:ext>
            </a:extLst>
          </p:cNvPr>
          <p:cNvCxnSpPr>
            <a:cxnSpLocks noChangeShapeType="1"/>
          </p:cNvCxnSpPr>
          <p:nvPr userDrawn="1">
            <p:custDataLst>
              <p:tags r:id="rId3"/>
            </p:custDataLst>
          </p:nvPr>
        </p:nvCxnSpPr>
        <p:spPr bwMode="gray">
          <a:xfrm flipH="1">
            <a:off x="476461" y="6579257"/>
            <a:ext cx="11239083" cy="0"/>
          </a:xfrm>
          <a:prstGeom prst="line">
            <a:avLst/>
          </a:prstGeom>
          <a:noFill/>
          <a:ln w="19050" algn="ctr">
            <a:solidFill>
              <a:srgbClr val="A6871C"/>
            </a:solidFill>
            <a:round/>
            <a:headEnd/>
            <a:tailEnd/>
          </a:ln>
        </p:spPr>
      </p:cxnSp>
      <p:graphicFrame>
        <p:nvGraphicFramePr>
          <p:cNvPr id="9" name="Tabela 8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838062401"/>
              </p:ext>
            </p:extLst>
          </p:nvPr>
        </p:nvGraphicFramePr>
        <p:xfrm>
          <a:off x="-1877836" y="222241"/>
          <a:ext cx="1440000" cy="612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60000">
                <a:tc gridSpan="4">
                  <a:txBody>
                    <a:bodyPr/>
                    <a:lstStyle/>
                    <a:p>
                      <a:pPr algn="ctr"/>
                      <a:r>
                        <a:rPr lang="pt-BR" sz="1000" dirty="0" err="1"/>
                        <a:t>Colour</a:t>
                      </a:r>
                      <a:r>
                        <a:rPr lang="pt-BR" sz="1000" dirty="0"/>
                        <a:t> </a:t>
                      </a:r>
                      <a:r>
                        <a:rPr lang="pt-BR" sz="1000" dirty="0" err="1"/>
                        <a:t>Pallete</a:t>
                      </a:r>
                      <a:endParaRPr lang="en-GB" sz="1000" dirty="0"/>
                    </a:p>
                  </a:txBody>
                  <a:tcPr anchor="ctr">
                    <a:lnB w="12700" cmpd="sng"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R</a:t>
                      </a:r>
                      <a:endParaRPr lang="en-GB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G</a:t>
                      </a:r>
                      <a:endParaRPr lang="en-GB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B</a:t>
                      </a:r>
                      <a:endParaRPr lang="en-GB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573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9</a:t>
                      </a:r>
                      <a:endParaRPr lang="en-GB" sz="8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87</a:t>
                      </a:r>
                      <a:endParaRPr lang="en-GB" sz="8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53</a:t>
                      </a:r>
                      <a:endParaRPr lang="en-GB" sz="8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137B5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</a:t>
                      </a:r>
                      <a:endParaRPr lang="en-GB" sz="800" dirty="0"/>
                    </a:p>
                  </a:txBody>
                  <a:tcPr anchor="ctr"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23</a:t>
                      </a:r>
                      <a:endParaRPr lang="en-GB" sz="800" dirty="0"/>
                    </a:p>
                  </a:txBody>
                  <a:tcPr anchor="ctr"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86</a:t>
                      </a:r>
                      <a:endParaRPr lang="en-GB" sz="800" dirty="0"/>
                    </a:p>
                  </a:txBody>
                  <a:tcPr anchor="ctr">
                    <a:lnT w="12700" cmpd="sng">
                      <a:noFill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5B877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9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3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14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9BBBA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5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87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72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AE951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74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49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4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A69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6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3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8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E28C0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2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4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E2D8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2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1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7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0D2B5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4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8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4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17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82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78ADD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2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7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2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C0D5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2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1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4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18171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4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9E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58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5136915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6"/>
          <p:cNvGrpSpPr/>
          <p:nvPr/>
        </p:nvGrpSpPr>
        <p:grpSpPr>
          <a:xfrm>
            <a:off x="10754208" y="6654523"/>
            <a:ext cx="1148500" cy="104000"/>
            <a:chOff x="8756844" y="6671575"/>
            <a:chExt cx="933156" cy="104000"/>
          </a:xfrm>
        </p:grpSpPr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8756844" y="6692294"/>
              <a:ext cx="43875" cy="601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17" y="0"/>
                </a:cxn>
                <a:cxn ang="0">
                  <a:pos x="217" y="61"/>
                </a:cxn>
                <a:cxn ang="0">
                  <a:pos x="77" y="61"/>
                </a:cxn>
                <a:cxn ang="0">
                  <a:pos x="77" y="121"/>
                </a:cxn>
                <a:cxn ang="0">
                  <a:pos x="199" y="121"/>
                </a:cxn>
                <a:cxn ang="0">
                  <a:pos x="199" y="181"/>
                </a:cxn>
                <a:cxn ang="0">
                  <a:pos x="77" y="181"/>
                </a:cxn>
                <a:cxn ang="0">
                  <a:pos x="77" y="294"/>
                </a:cxn>
                <a:cxn ang="0">
                  <a:pos x="0" y="294"/>
                </a:cxn>
                <a:cxn ang="0">
                  <a:pos x="0" y="0"/>
                </a:cxn>
              </a:cxnLst>
              <a:rect l="0" t="0" r="r" b="b"/>
              <a:pathLst>
                <a:path w="217" h="294">
                  <a:moveTo>
                    <a:pt x="0" y="0"/>
                  </a:moveTo>
                  <a:lnTo>
                    <a:pt x="217" y="0"/>
                  </a:lnTo>
                  <a:lnTo>
                    <a:pt x="217" y="61"/>
                  </a:lnTo>
                  <a:lnTo>
                    <a:pt x="77" y="61"/>
                  </a:lnTo>
                  <a:lnTo>
                    <a:pt x="77" y="121"/>
                  </a:lnTo>
                  <a:lnTo>
                    <a:pt x="199" y="121"/>
                  </a:lnTo>
                  <a:lnTo>
                    <a:pt x="199" y="181"/>
                  </a:lnTo>
                  <a:lnTo>
                    <a:pt x="77" y="181"/>
                  </a:lnTo>
                  <a:lnTo>
                    <a:pt x="77" y="294"/>
                  </a:lnTo>
                  <a:lnTo>
                    <a:pt x="0" y="2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auto">
            <a:xfrm>
              <a:off x="8809250" y="6691482"/>
              <a:ext cx="58906" cy="62156"/>
            </a:xfrm>
            <a:custGeom>
              <a:avLst/>
              <a:gdLst/>
              <a:ahLst/>
              <a:cxnLst>
                <a:cxn ang="0">
                  <a:pos x="145" y="0"/>
                </a:cxn>
                <a:cxn ang="0">
                  <a:pos x="179" y="3"/>
                </a:cxn>
                <a:cxn ang="0">
                  <a:pos x="208" y="13"/>
                </a:cxn>
                <a:cxn ang="0">
                  <a:pos x="232" y="27"/>
                </a:cxn>
                <a:cxn ang="0">
                  <a:pos x="253" y="45"/>
                </a:cxn>
                <a:cxn ang="0">
                  <a:pos x="270" y="67"/>
                </a:cxn>
                <a:cxn ang="0">
                  <a:pos x="281" y="94"/>
                </a:cxn>
                <a:cxn ang="0">
                  <a:pos x="288" y="123"/>
                </a:cxn>
                <a:cxn ang="0">
                  <a:pos x="291" y="154"/>
                </a:cxn>
                <a:cxn ang="0">
                  <a:pos x="288" y="185"/>
                </a:cxn>
                <a:cxn ang="0">
                  <a:pos x="281" y="214"/>
                </a:cxn>
                <a:cxn ang="0">
                  <a:pos x="270" y="239"/>
                </a:cxn>
                <a:cxn ang="0">
                  <a:pos x="253" y="261"/>
                </a:cxn>
                <a:cxn ang="0">
                  <a:pos x="232" y="281"/>
                </a:cxn>
                <a:cxn ang="0">
                  <a:pos x="208" y="295"/>
                </a:cxn>
                <a:cxn ang="0">
                  <a:pos x="179" y="303"/>
                </a:cxn>
                <a:cxn ang="0">
                  <a:pos x="145" y="306"/>
                </a:cxn>
                <a:cxn ang="0">
                  <a:pos x="113" y="303"/>
                </a:cxn>
                <a:cxn ang="0">
                  <a:pos x="84" y="295"/>
                </a:cxn>
                <a:cxn ang="0">
                  <a:pos x="59" y="281"/>
                </a:cxn>
                <a:cxn ang="0">
                  <a:pos x="38" y="261"/>
                </a:cxn>
                <a:cxn ang="0">
                  <a:pos x="23" y="239"/>
                </a:cxn>
                <a:cxn ang="0">
                  <a:pos x="10" y="214"/>
                </a:cxn>
                <a:cxn ang="0">
                  <a:pos x="3" y="185"/>
                </a:cxn>
                <a:cxn ang="0">
                  <a:pos x="0" y="154"/>
                </a:cxn>
                <a:cxn ang="0">
                  <a:pos x="3" y="123"/>
                </a:cxn>
                <a:cxn ang="0">
                  <a:pos x="10" y="94"/>
                </a:cxn>
                <a:cxn ang="0">
                  <a:pos x="23" y="67"/>
                </a:cxn>
                <a:cxn ang="0">
                  <a:pos x="38" y="45"/>
                </a:cxn>
                <a:cxn ang="0">
                  <a:pos x="59" y="27"/>
                </a:cxn>
                <a:cxn ang="0">
                  <a:pos x="84" y="13"/>
                </a:cxn>
                <a:cxn ang="0">
                  <a:pos x="113" y="3"/>
                </a:cxn>
                <a:cxn ang="0">
                  <a:pos x="145" y="0"/>
                </a:cxn>
                <a:cxn ang="0">
                  <a:pos x="145" y="240"/>
                </a:cxn>
                <a:cxn ang="0">
                  <a:pos x="165" y="238"/>
                </a:cxn>
                <a:cxn ang="0">
                  <a:pos x="180" y="231"/>
                </a:cxn>
                <a:cxn ang="0">
                  <a:pos x="193" y="219"/>
                </a:cxn>
                <a:cxn ang="0">
                  <a:pos x="203" y="206"/>
                </a:cxn>
                <a:cxn ang="0">
                  <a:pos x="210" y="190"/>
                </a:cxn>
                <a:cxn ang="0">
                  <a:pos x="213" y="172"/>
                </a:cxn>
                <a:cxn ang="0">
                  <a:pos x="214" y="154"/>
                </a:cxn>
                <a:cxn ang="0">
                  <a:pos x="213" y="134"/>
                </a:cxn>
                <a:cxn ang="0">
                  <a:pos x="210" y="118"/>
                </a:cxn>
                <a:cxn ang="0">
                  <a:pos x="203" y="101"/>
                </a:cxn>
                <a:cxn ang="0">
                  <a:pos x="193" y="87"/>
                </a:cxn>
                <a:cxn ang="0">
                  <a:pos x="180" y="76"/>
                </a:cxn>
                <a:cxn ang="0">
                  <a:pos x="165" y="69"/>
                </a:cxn>
                <a:cxn ang="0">
                  <a:pos x="145" y="66"/>
                </a:cxn>
                <a:cxn ang="0">
                  <a:pos x="126" y="69"/>
                </a:cxn>
                <a:cxn ang="0">
                  <a:pos x="111" y="76"/>
                </a:cxn>
                <a:cxn ang="0">
                  <a:pos x="98" y="87"/>
                </a:cxn>
                <a:cxn ang="0">
                  <a:pos x="88" y="101"/>
                </a:cxn>
                <a:cxn ang="0">
                  <a:pos x="83" y="118"/>
                </a:cxn>
                <a:cxn ang="0">
                  <a:pos x="78" y="134"/>
                </a:cxn>
                <a:cxn ang="0">
                  <a:pos x="77" y="154"/>
                </a:cxn>
                <a:cxn ang="0">
                  <a:pos x="78" y="172"/>
                </a:cxn>
                <a:cxn ang="0">
                  <a:pos x="83" y="190"/>
                </a:cxn>
                <a:cxn ang="0">
                  <a:pos x="88" y="206"/>
                </a:cxn>
                <a:cxn ang="0">
                  <a:pos x="98" y="219"/>
                </a:cxn>
                <a:cxn ang="0">
                  <a:pos x="111" y="231"/>
                </a:cxn>
                <a:cxn ang="0">
                  <a:pos x="126" y="238"/>
                </a:cxn>
                <a:cxn ang="0">
                  <a:pos x="145" y="240"/>
                </a:cxn>
              </a:cxnLst>
              <a:rect l="0" t="0" r="r" b="b"/>
              <a:pathLst>
                <a:path w="291" h="306">
                  <a:moveTo>
                    <a:pt x="145" y="0"/>
                  </a:moveTo>
                  <a:lnTo>
                    <a:pt x="179" y="3"/>
                  </a:lnTo>
                  <a:lnTo>
                    <a:pt x="208" y="13"/>
                  </a:lnTo>
                  <a:lnTo>
                    <a:pt x="232" y="27"/>
                  </a:lnTo>
                  <a:lnTo>
                    <a:pt x="253" y="45"/>
                  </a:lnTo>
                  <a:lnTo>
                    <a:pt x="270" y="67"/>
                  </a:lnTo>
                  <a:lnTo>
                    <a:pt x="281" y="94"/>
                  </a:lnTo>
                  <a:lnTo>
                    <a:pt x="288" y="123"/>
                  </a:lnTo>
                  <a:lnTo>
                    <a:pt x="291" y="154"/>
                  </a:lnTo>
                  <a:lnTo>
                    <a:pt x="288" y="185"/>
                  </a:lnTo>
                  <a:lnTo>
                    <a:pt x="281" y="214"/>
                  </a:lnTo>
                  <a:lnTo>
                    <a:pt x="270" y="239"/>
                  </a:lnTo>
                  <a:lnTo>
                    <a:pt x="253" y="261"/>
                  </a:lnTo>
                  <a:lnTo>
                    <a:pt x="232" y="281"/>
                  </a:lnTo>
                  <a:lnTo>
                    <a:pt x="208" y="295"/>
                  </a:lnTo>
                  <a:lnTo>
                    <a:pt x="179" y="303"/>
                  </a:lnTo>
                  <a:lnTo>
                    <a:pt x="145" y="306"/>
                  </a:lnTo>
                  <a:lnTo>
                    <a:pt x="113" y="303"/>
                  </a:lnTo>
                  <a:lnTo>
                    <a:pt x="84" y="295"/>
                  </a:lnTo>
                  <a:lnTo>
                    <a:pt x="59" y="281"/>
                  </a:lnTo>
                  <a:lnTo>
                    <a:pt x="38" y="261"/>
                  </a:lnTo>
                  <a:lnTo>
                    <a:pt x="23" y="239"/>
                  </a:lnTo>
                  <a:lnTo>
                    <a:pt x="10" y="214"/>
                  </a:lnTo>
                  <a:lnTo>
                    <a:pt x="3" y="185"/>
                  </a:lnTo>
                  <a:lnTo>
                    <a:pt x="0" y="154"/>
                  </a:lnTo>
                  <a:lnTo>
                    <a:pt x="3" y="123"/>
                  </a:lnTo>
                  <a:lnTo>
                    <a:pt x="10" y="94"/>
                  </a:lnTo>
                  <a:lnTo>
                    <a:pt x="23" y="67"/>
                  </a:lnTo>
                  <a:lnTo>
                    <a:pt x="38" y="45"/>
                  </a:lnTo>
                  <a:lnTo>
                    <a:pt x="59" y="27"/>
                  </a:lnTo>
                  <a:lnTo>
                    <a:pt x="84" y="13"/>
                  </a:lnTo>
                  <a:lnTo>
                    <a:pt x="113" y="3"/>
                  </a:lnTo>
                  <a:lnTo>
                    <a:pt x="145" y="0"/>
                  </a:lnTo>
                  <a:close/>
                  <a:moveTo>
                    <a:pt x="145" y="240"/>
                  </a:moveTo>
                  <a:lnTo>
                    <a:pt x="165" y="238"/>
                  </a:lnTo>
                  <a:lnTo>
                    <a:pt x="180" y="231"/>
                  </a:lnTo>
                  <a:lnTo>
                    <a:pt x="193" y="219"/>
                  </a:lnTo>
                  <a:lnTo>
                    <a:pt x="203" y="206"/>
                  </a:lnTo>
                  <a:lnTo>
                    <a:pt x="210" y="190"/>
                  </a:lnTo>
                  <a:lnTo>
                    <a:pt x="213" y="172"/>
                  </a:lnTo>
                  <a:lnTo>
                    <a:pt x="214" y="154"/>
                  </a:lnTo>
                  <a:lnTo>
                    <a:pt x="213" y="134"/>
                  </a:lnTo>
                  <a:lnTo>
                    <a:pt x="210" y="118"/>
                  </a:lnTo>
                  <a:lnTo>
                    <a:pt x="203" y="101"/>
                  </a:lnTo>
                  <a:lnTo>
                    <a:pt x="193" y="87"/>
                  </a:lnTo>
                  <a:lnTo>
                    <a:pt x="180" y="76"/>
                  </a:lnTo>
                  <a:lnTo>
                    <a:pt x="165" y="69"/>
                  </a:lnTo>
                  <a:lnTo>
                    <a:pt x="145" y="66"/>
                  </a:lnTo>
                  <a:lnTo>
                    <a:pt x="126" y="69"/>
                  </a:lnTo>
                  <a:lnTo>
                    <a:pt x="111" y="76"/>
                  </a:lnTo>
                  <a:lnTo>
                    <a:pt x="98" y="87"/>
                  </a:lnTo>
                  <a:lnTo>
                    <a:pt x="88" y="101"/>
                  </a:lnTo>
                  <a:lnTo>
                    <a:pt x="83" y="118"/>
                  </a:lnTo>
                  <a:lnTo>
                    <a:pt x="78" y="134"/>
                  </a:lnTo>
                  <a:lnTo>
                    <a:pt x="77" y="154"/>
                  </a:lnTo>
                  <a:lnTo>
                    <a:pt x="78" y="172"/>
                  </a:lnTo>
                  <a:lnTo>
                    <a:pt x="83" y="190"/>
                  </a:lnTo>
                  <a:lnTo>
                    <a:pt x="88" y="206"/>
                  </a:lnTo>
                  <a:lnTo>
                    <a:pt x="98" y="219"/>
                  </a:lnTo>
                  <a:lnTo>
                    <a:pt x="111" y="231"/>
                  </a:lnTo>
                  <a:lnTo>
                    <a:pt x="126" y="238"/>
                  </a:lnTo>
                  <a:lnTo>
                    <a:pt x="145" y="24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42" name="Freeform 11"/>
            <p:cNvSpPr>
              <a:spLocks noEditPoints="1"/>
            </p:cNvSpPr>
            <p:nvPr/>
          </p:nvSpPr>
          <p:spPr bwMode="auto">
            <a:xfrm>
              <a:off x="8879937" y="6692294"/>
              <a:ext cx="53219" cy="601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0" y="0"/>
                </a:cxn>
                <a:cxn ang="0">
                  <a:pos x="172" y="1"/>
                </a:cxn>
                <a:cxn ang="0">
                  <a:pos x="193" y="5"/>
                </a:cxn>
                <a:cxn ang="0">
                  <a:pos x="213" y="14"/>
                </a:cxn>
                <a:cxn ang="0">
                  <a:pos x="229" y="25"/>
                </a:cxn>
                <a:cxn ang="0">
                  <a:pos x="242" y="40"/>
                </a:cxn>
                <a:cxn ang="0">
                  <a:pos x="250" y="60"/>
                </a:cxn>
                <a:cxn ang="0">
                  <a:pos x="253" y="84"/>
                </a:cxn>
                <a:cxn ang="0">
                  <a:pos x="252" y="102"/>
                </a:cxn>
                <a:cxn ang="0">
                  <a:pos x="246" y="120"/>
                </a:cxn>
                <a:cxn ang="0">
                  <a:pos x="236" y="135"/>
                </a:cxn>
                <a:cxn ang="0">
                  <a:pos x="224" y="148"/>
                </a:cxn>
                <a:cxn ang="0">
                  <a:pos x="207" y="156"/>
                </a:cxn>
                <a:cxn ang="0">
                  <a:pos x="207" y="158"/>
                </a:cxn>
                <a:cxn ang="0">
                  <a:pos x="221" y="163"/>
                </a:cxn>
                <a:cxn ang="0">
                  <a:pos x="231" y="173"/>
                </a:cxn>
                <a:cxn ang="0">
                  <a:pos x="239" y="184"/>
                </a:cxn>
                <a:cxn ang="0">
                  <a:pos x="245" y="198"/>
                </a:cxn>
                <a:cxn ang="0">
                  <a:pos x="248" y="213"/>
                </a:cxn>
                <a:cxn ang="0">
                  <a:pos x="249" y="227"/>
                </a:cxn>
                <a:cxn ang="0">
                  <a:pos x="250" y="239"/>
                </a:cxn>
                <a:cxn ang="0">
                  <a:pos x="252" y="253"/>
                </a:cxn>
                <a:cxn ang="0">
                  <a:pos x="253" y="269"/>
                </a:cxn>
                <a:cxn ang="0">
                  <a:pos x="256" y="285"/>
                </a:cxn>
                <a:cxn ang="0">
                  <a:pos x="262" y="294"/>
                </a:cxn>
                <a:cxn ang="0">
                  <a:pos x="186" y="294"/>
                </a:cxn>
                <a:cxn ang="0">
                  <a:pos x="182" y="285"/>
                </a:cxn>
                <a:cxn ang="0">
                  <a:pos x="179" y="271"/>
                </a:cxn>
                <a:cxn ang="0">
                  <a:pos x="178" y="257"/>
                </a:cxn>
                <a:cxn ang="0">
                  <a:pos x="178" y="247"/>
                </a:cxn>
                <a:cxn ang="0">
                  <a:pos x="176" y="233"/>
                </a:cxn>
                <a:cxn ang="0">
                  <a:pos x="174" y="219"/>
                </a:cxn>
                <a:cxn ang="0">
                  <a:pos x="168" y="206"/>
                </a:cxn>
                <a:cxn ang="0">
                  <a:pos x="161" y="195"/>
                </a:cxn>
                <a:cxn ang="0">
                  <a:pos x="150" y="190"/>
                </a:cxn>
                <a:cxn ang="0">
                  <a:pos x="134" y="187"/>
                </a:cxn>
                <a:cxn ang="0">
                  <a:pos x="76" y="187"/>
                </a:cxn>
                <a:cxn ang="0">
                  <a:pos x="76" y="294"/>
                </a:cxn>
                <a:cxn ang="0">
                  <a:pos x="0" y="294"/>
                </a:cxn>
                <a:cxn ang="0">
                  <a:pos x="0" y="0"/>
                </a:cxn>
                <a:cxn ang="0">
                  <a:pos x="76" y="128"/>
                </a:cxn>
                <a:cxn ang="0">
                  <a:pos x="141" y="128"/>
                </a:cxn>
                <a:cxn ang="0">
                  <a:pos x="157" y="125"/>
                </a:cxn>
                <a:cxn ang="0">
                  <a:pos x="167" y="118"/>
                </a:cxn>
                <a:cxn ang="0">
                  <a:pos x="174" y="109"/>
                </a:cxn>
                <a:cxn ang="0">
                  <a:pos x="176" y="93"/>
                </a:cxn>
                <a:cxn ang="0">
                  <a:pos x="175" y="81"/>
                </a:cxn>
                <a:cxn ang="0">
                  <a:pos x="168" y="72"/>
                </a:cxn>
                <a:cxn ang="0">
                  <a:pos x="160" y="65"/>
                </a:cxn>
                <a:cxn ang="0">
                  <a:pos x="150" y="63"/>
                </a:cxn>
                <a:cxn ang="0">
                  <a:pos x="137" y="61"/>
                </a:cxn>
                <a:cxn ang="0">
                  <a:pos x="76" y="61"/>
                </a:cxn>
                <a:cxn ang="0">
                  <a:pos x="76" y="128"/>
                </a:cxn>
              </a:cxnLst>
              <a:rect l="0" t="0" r="r" b="b"/>
              <a:pathLst>
                <a:path w="262" h="294">
                  <a:moveTo>
                    <a:pt x="0" y="0"/>
                  </a:moveTo>
                  <a:lnTo>
                    <a:pt x="150" y="0"/>
                  </a:lnTo>
                  <a:lnTo>
                    <a:pt x="172" y="1"/>
                  </a:lnTo>
                  <a:lnTo>
                    <a:pt x="193" y="5"/>
                  </a:lnTo>
                  <a:lnTo>
                    <a:pt x="213" y="14"/>
                  </a:lnTo>
                  <a:lnTo>
                    <a:pt x="229" y="25"/>
                  </a:lnTo>
                  <a:lnTo>
                    <a:pt x="242" y="40"/>
                  </a:lnTo>
                  <a:lnTo>
                    <a:pt x="250" y="60"/>
                  </a:lnTo>
                  <a:lnTo>
                    <a:pt x="253" y="84"/>
                  </a:lnTo>
                  <a:lnTo>
                    <a:pt x="252" y="102"/>
                  </a:lnTo>
                  <a:lnTo>
                    <a:pt x="246" y="120"/>
                  </a:lnTo>
                  <a:lnTo>
                    <a:pt x="236" y="135"/>
                  </a:lnTo>
                  <a:lnTo>
                    <a:pt x="224" y="148"/>
                  </a:lnTo>
                  <a:lnTo>
                    <a:pt x="207" y="156"/>
                  </a:lnTo>
                  <a:lnTo>
                    <a:pt x="207" y="158"/>
                  </a:lnTo>
                  <a:lnTo>
                    <a:pt x="221" y="163"/>
                  </a:lnTo>
                  <a:lnTo>
                    <a:pt x="231" y="173"/>
                  </a:lnTo>
                  <a:lnTo>
                    <a:pt x="239" y="184"/>
                  </a:lnTo>
                  <a:lnTo>
                    <a:pt x="245" y="198"/>
                  </a:lnTo>
                  <a:lnTo>
                    <a:pt x="248" y="213"/>
                  </a:lnTo>
                  <a:lnTo>
                    <a:pt x="249" y="227"/>
                  </a:lnTo>
                  <a:lnTo>
                    <a:pt x="250" y="239"/>
                  </a:lnTo>
                  <a:lnTo>
                    <a:pt x="252" y="253"/>
                  </a:lnTo>
                  <a:lnTo>
                    <a:pt x="253" y="269"/>
                  </a:lnTo>
                  <a:lnTo>
                    <a:pt x="256" y="285"/>
                  </a:lnTo>
                  <a:lnTo>
                    <a:pt x="262" y="294"/>
                  </a:lnTo>
                  <a:lnTo>
                    <a:pt x="186" y="294"/>
                  </a:lnTo>
                  <a:lnTo>
                    <a:pt x="182" y="285"/>
                  </a:lnTo>
                  <a:lnTo>
                    <a:pt x="179" y="271"/>
                  </a:lnTo>
                  <a:lnTo>
                    <a:pt x="178" y="257"/>
                  </a:lnTo>
                  <a:lnTo>
                    <a:pt x="178" y="247"/>
                  </a:lnTo>
                  <a:lnTo>
                    <a:pt x="176" y="233"/>
                  </a:lnTo>
                  <a:lnTo>
                    <a:pt x="174" y="219"/>
                  </a:lnTo>
                  <a:lnTo>
                    <a:pt x="168" y="206"/>
                  </a:lnTo>
                  <a:lnTo>
                    <a:pt x="161" y="195"/>
                  </a:lnTo>
                  <a:lnTo>
                    <a:pt x="150" y="190"/>
                  </a:lnTo>
                  <a:lnTo>
                    <a:pt x="134" y="187"/>
                  </a:lnTo>
                  <a:lnTo>
                    <a:pt x="76" y="187"/>
                  </a:lnTo>
                  <a:lnTo>
                    <a:pt x="76" y="294"/>
                  </a:lnTo>
                  <a:lnTo>
                    <a:pt x="0" y="294"/>
                  </a:lnTo>
                  <a:lnTo>
                    <a:pt x="0" y="0"/>
                  </a:lnTo>
                  <a:close/>
                  <a:moveTo>
                    <a:pt x="76" y="128"/>
                  </a:moveTo>
                  <a:lnTo>
                    <a:pt x="141" y="128"/>
                  </a:lnTo>
                  <a:lnTo>
                    <a:pt x="157" y="125"/>
                  </a:lnTo>
                  <a:lnTo>
                    <a:pt x="167" y="118"/>
                  </a:lnTo>
                  <a:lnTo>
                    <a:pt x="174" y="109"/>
                  </a:lnTo>
                  <a:lnTo>
                    <a:pt x="176" y="93"/>
                  </a:lnTo>
                  <a:lnTo>
                    <a:pt x="175" y="81"/>
                  </a:lnTo>
                  <a:lnTo>
                    <a:pt x="168" y="72"/>
                  </a:lnTo>
                  <a:lnTo>
                    <a:pt x="160" y="65"/>
                  </a:lnTo>
                  <a:lnTo>
                    <a:pt x="150" y="63"/>
                  </a:lnTo>
                  <a:lnTo>
                    <a:pt x="137" y="61"/>
                  </a:lnTo>
                  <a:lnTo>
                    <a:pt x="76" y="61"/>
                  </a:lnTo>
                  <a:lnTo>
                    <a:pt x="76" y="128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auto">
            <a:xfrm>
              <a:off x="8936812" y="6692294"/>
              <a:ext cx="80438" cy="60125"/>
            </a:xfrm>
            <a:custGeom>
              <a:avLst/>
              <a:gdLst/>
              <a:ahLst/>
              <a:cxnLst>
                <a:cxn ang="0">
                  <a:pos x="315" y="294"/>
                </a:cxn>
                <a:cxn ang="0">
                  <a:pos x="239" y="294"/>
                </a:cxn>
                <a:cxn ang="0">
                  <a:pos x="198" y="92"/>
                </a:cxn>
                <a:cxn ang="0">
                  <a:pos x="158" y="294"/>
                </a:cxn>
                <a:cxn ang="0">
                  <a:pos x="79" y="294"/>
                </a:cxn>
                <a:cxn ang="0">
                  <a:pos x="0" y="0"/>
                </a:cxn>
                <a:cxn ang="0">
                  <a:pos x="77" y="0"/>
                </a:cxn>
                <a:cxn ang="0">
                  <a:pos x="118" y="215"/>
                </a:cxn>
                <a:cxn ang="0">
                  <a:pos x="162" y="0"/>
                </a:cxn>
                <a:cxn ang="0">
                  <a:pos x="234" y="0"/>
                </a:cxn>
                <a:cxn ang="0">
                  <a:pos x="278" y="215"/>
                </a:cxn>
                <a:cxn ang="0">
                  <a:pos x="279" y="215"/>
                </a:cxn>
                <a:cxn ang="0">
                  <a:pos x="320" y="0"/>
                </a:cxn>
                <a:cxn ang="0">
                  <a:pos x="396" y="0"/>
                </a:cxn>
                <a:cxn ang="0">
                  <a:pos x="315" y="294"/>
                </a:cxn>
              </a:cxnLst>
              <a:rect l="0" t="0" r="r" b="b"/>
              <a:pathLst>
                <a:path w="396" h="294">
                  <a:moveTo>
                    <a:pt x="315" y="294"/>
                  </a:moveTo>
                  <a:lnTo>
                    <a:pt x="239" y="294"/>
                  </a:lnTo>
                  <a:lnTo>
                    <a:pt x="198" y="92"/>
                  </a:lnTo>
                  <a:lnTo>
                    <a:pt x="158" y="294"/>
                  </a:lnTo>
                  <a:lnTo>
                    <a:pt x="79" y="294"/>
                  </a:lnTo>
                  <a:lnTo>
                    <a:pt x="0" y="0"/>
                  </a:lnTo>
                  <a:lnTo>
                    <a:pt x="77" y="0"/>
                  </a:lnTo>
                  <a:lnTo>
                    <a:pt x="118" y="215"/>
                  </a:lnTo>
                  <a:lnTo>
                    <a:pt x="162" y="0"/>
                  </a:lnTo>
                  <a:lnTo>
                    <a:pt x="234" y="0"/>
                  </a:lnTo>
                  <a:lnTo>
                    <a:pt x="278" y="215"/>
                  </a:lnTo>
                  <a:lnTo>
                    <a:pt x="279" y="215"/>
                  </a:lnTo>
                  <a:lnTo>
                    <a:pt x="320" y="0"/>
                  </a:lnTo>
                  <a:lnTo>
                    <a:pt x="396" y="0"/>
                  </a:lnTo>
                  <a:lnTo>
                    <a:pt x="315" y="294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44" name="Freeform 13"/>
            <p:cNvSpPr>
              <a:spLocks noEditPoints="1"/>
            </p:cNvSpPr>
            <p:nvPr/>
          </p:nvSpPr>
          <p:spPr bwMode="auto">
            <a:xfrm>
              <a:off x="9017250" y="6692294"/>
              <a:ext cx="60125" cy="60125"/>
            </a:xfrm>
            <a:custGeom>
              <a:avLst/>
              <a:gdLst/>
              <a:ahLst/>
              <a:cxnLst>
                <a:cxn ang="0">
                  <a:pos x="109" y="0"/>
                </a:cxn>
                <a:cxn ang="0">
                  <a:pos x="187" y="0"/>
                </a:cxn>
                <a:cxn ang="0">
                  <a:pos x="298" y="294"/>
                </a:cxn>
                <a:cxn ang="0">
                  <a:pos x="217" y="294"/>
                </a:cxn>
                <a:cxn ang="0">
                  <a:pos x="200" y="241"/>
                </a:cxn>
                <a:cxn ang="0">
                  <a:pos x="96" y="241"/>
                </a:cxn>
                <a:cxn ang="0">
                  <a:pos x="78" y="294"/>
                </a:cxn>
                <a:cxn ang="0">
                  <a:pos x="0" y="294"/>
                </a:cxn>
                <a:cxn ang="0">
                  <a:pos x="109" y="0"/>
                </a:cxn>
                <a:cxn ang="0">
                  <a:pos x="115" y="184"/>
                </a:cxn>
                <a:cxn ang="0">
                  <a:pos x="182" y="184"/>
                </a:cxn>
                <a:cxn ang="0">
                  <a:pos x="148" y="82"/>
                </a:cxn>
                <a:cxn ang="0">
                  <a:pos x="115" y="184"/>
                </a:cxn>
              </a:cxnLst>
              <a:rect l="0" t="0" r="r" b="b"/>
              <a:pathLst>
                <a:path w="298" h="294">
                  <a:moveTo>
                    <a:pt x="109" y="0"/>
                  </a:moveTo>
                  <a:lnTo>
                    <a:pt x="187" y="0"/>
                  </a:lnTo>
                  <a:lnTo>
                    <a:pt x="298" y="294"/>
                  </a:lnTo>
                  <a:lnTo>
                    <a:pt x="217" y="294"/>
                  </a:lnTo>
                  <a:lnTo>
                    <a:pt x="200" y="241"/>
                  </a:lnTo>
                  <a:lnTo>
                    <a:pt x="96" y="241"/>
                  </a:lnTo>
                  <a:lnTo>
                    <a:pt x="78" y="294"/>
                  </a:lnTo>
                  <a:lnTo>
                    <a:pt x="0" y="294"/>
                  </a:lnTo>
                  <a:lnTo>
                    <a:pt x="109" y="0"/>
                  </a:lnTo>
                  <a:close/>
                  <a:moveTo>
                    <a:pt x="115" y="184"/>
                  </a:moveTo>
                  <a:lnTo>
                    <a:pt x="182" y="184"/>
                  </a:lnTo>
                  <a:lnTo>
                    <a:pt x="148" y="82"/>
                  </a:lnTo>
                  <a:lnTo>
                    <a:pt x="115" y="184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45" name="Freeform 14"/>
            <p:cNvSpPr>
              <a:spLocks noEditPoints="1"/>
            </p:cNvSpPr>
            <p:nvPr/>
          </p:nvSpPr>
          <p:spPr bwMode="auto">
            <a:xfrm>
              <a:off x="9085094" y="6692294"/>
              <a:ext cx="53219" cy="601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1" y="0"/>
                </a:cxn>
                <a:cxn ang="0">
                  <a:pos x="173" y="1"/>
                </a:cxn>
                <a:cxn ang="0">
                  <a:pos x="194" y="5"/>
                </a:cxn>
                <a:cxn ang="0">
                  <a:pos x="214" y="14"/>
                </a:cxn>
                <a:cxn ang="0">
                  <a:pos x="231" y="25"/>
                </a:cxn>
                <a:cxn ang="0">
                  <a:pos x="243" y="40"/>
                </a:cxn>
                <a:cxn ang="0">
                  <a:pos x="252" y="60"/>
                </a:cxn>
                <a:cxn ang="0">
                  <a:pos x="254" y="84"/>
                </a:cxn>
                <a:cxn ang="0">
                  <a:pos x="253" y="102"/>
                </a:cxn>
                <a:cxn ang="0">
                  <a:pos x="248" y="120"/>
                </a:cxn>
                <a:cxn ang="0">
                  <a:pos x="238" y="135"/>
                </a:cxn>
                <a:cxn ang="0">
                  <a:pos x="224" y="148"/>
                </a:cxn>
                <a:cxn ang="0">
                  <a:pos x="207" y="156"/>
                </a:cxn>
                <a:cxn ang="0">
                  <a:pos x="207" y="158"/>
                </a:cxn>
                <a:cxn ang="0">
                  <a:pos x="221" y="163"/>
                </a:cxn>
                <a:cxn ang="0">
                  <a:pos x="232" y="173"/>
                </a:cxn>
                <a:cxn ang="0">
                  <a:pos x="239" y="184"/>
                </a:cxn>
                <a:cxn ang="0">
                  <a:pos x="245" y="198"/>
                </a:cxn>
                <a:cxn ang="0">
                  <a:pos x="249" y="213"/>
                </a:cxn>
                <a:cxn ang="0">
                  <a:pos x="250" y="227"/>
                </a:cxn>
                <a:cxn ang="0">
                  <a:pos x="252" y="239"/>
                </a:cxn>
                <a:cxn ang="0">
                  <a:pos x="253" y="253"/>
                </a:cxn>
                <a:cxn ang="0">
                  <a:pos x="254" y="269"/>
                </a:cxn>
                <a:cxn ang="0">
                  <a:pos x="257" y="285"/>
                </a:cxn>
                <a:cxn ang="0">
                  <a:pos x="263" y="294"/>
                </a:cxn>
                <a:cxn ang="0">
                  <a:pos x="187" y="294"/>
                </a:cxn>
                <a:cxn ang="0">
                  <a:pos x="183" y="285"/>
                </a:cxn>
                <a:cxn ang="0">
                  <a:pos x="180" y="271"/>
                </a:cxn>
                <a:cxn ang="0">
                  <a:pos x="179" y="257"/>
                </a:cxn>
                <a:cxn ang="0">
                  <a:pos x="179" y="247"/>
                </a:cxn>
                <a:cxn ang="0">
                  <a:pos x="178" y="233"/>
                </a:cxn>
                <a:cxn ang="0">
                  <a:pos x="175" y="219"/>
                </a:cxn>
                <a:cxn ang="0">
                  <a:pos x="169" y="206"/>
                </a:cxn>
                <a:cxn ang="0">
                  <a:pos x="162" y="195"/>
                </a:cxn>
                <a:cxn ang="0">
                  <a:pos x="151" y="190"/>
                </a:cxn>
                <a:cxn ang="0">
                  <a:pos x="136" y="187"/>
                </a:cxn>
                <a:cxn ang="0">
                  <a:pos x="77" y="187"/>
                </a:cxn>
                <a:cxn ang="0">
                  <a:pos x="77" y="294"/>
                </a:cxn>
                <a:cxn ang="0">
                  <a:pos x="0" y="294"/>
                </a:cxn>
                <a:cxn ang="0">
                  <a:pos x="0" y="0"/>
                </a:cxn>
                <a:cxn ang="0">
                  <a:pos x="77" y="128"/>
                </a:cxn>
                <a:cxn ang="0">
                  <a:pos x="141" y="128"/>
                </a:cxn>
                <a:cxn ang="0">
                  <a:pos x="157" y="125"/>
                </a:cxn>
                <a:cxn ang="0">
                  <a:pos x="168" y="118"/>
                </a:cxn>
                <a:cxn ang="0">
                  <a:pos x="175" y="109"/>
                </a:cxn>
                <a:cxn ang="0">
                  <a:pos x="178" y="93"/>
                </a:cxn>
                <a:cxn ang="0">
                  <a:pos x="176" y="81"/>
                </a:cxn>
                <a:cxn ang="0">
                  <a:pos x="169" y="72"/>
                </a:cxn>
                <a:cxn ang="0">
                  <a:pos x="161" y="65"/>
                </a:cxn>
                <a:cxn ang="0">
                  <a:pos x="151" y="63"/>
                </a:cxn>
                <a:cxn ang="0">
                  <a:pos x="139" y="61"/>
                </a:cxn>
                <a:cxn ang="0">
                  <a:pos x="77" y="61"/>
                </a:cxn>
                <a:cxn ang="0">
                  <a:pos x="77" y="128"/>
                </a:cxn>
              </a:cxnLst>
              <a:rect l="0" t="0" r="r" b="b"/>
              <a:pathLst>
                <a:path w="263" h="294">
                  <a:moveTo>
                    <a:pt x="0" y="0"/>
                  </a:moveTo>
                  <a:lnTo>
                    <a:pt x="151" y="0"/>
                  </a:lnTo>
                  <a:lnTo>
                    <a:pt x="173" y="1"/>
                  </a:lnTo>
                  <a:lnTo>
                    <a:pt x="194" y="5"/>
                  </a:lnTo>
                  <a:lnTo>
                    <a:pt x="214" y="14"/>
                  </a:lnTo>
                  <a:lnTo>
                    <a:pt x="231" y="25"/>
                  </a:lnTo>
                  <a:lnTo>
                    <a:pt x="243" y="40"/>
                  </a:lnTo>
                  <a:lnTo>
                    <a:pt x="252" y="60"/>
                  </a:lnTo>
                  <a:lnTo>
                    <a:pt x="254" y="84"/>
                  </a:lnTo>
                  <a:lnTo>
                    <a:pt x="253" y="102"/>
                  </a:lnTo>
                  <a:lnTo>
                    <a:pt x="248" y="120"/>
                  </a:lnTo>
                  <a:lnTo>
                    <a:pt x="238" y="135"/>
                  </a:lnTo>
                  <a:lnTo>
                    <a:pt x="224" y="148"/>
                  </a:lnTo>
                  <a:lnTo>
                    <a:pt x="207" y="156"/>
                  </a:lnTo>
                  <a:lnTo>
                    <a:pt x="207" y="158"/>
                  </a:lnTo>
                  <a:lnTo>
                    <a:pt x="221" y="163"/>
                  </a:lnTo>
                  <a:lnTo>
                    <a:pt x="232" y="173"/>
                  </a:lnTo>
                  <a:lnTo>
                    <a:pt x="239" y="184"/>
                  </a:lnTo>
                  <a:lnTo>
                    <a:pt x="245" y="198"/>
                  </a:lnTo>
                  <a:lnTo>
                    <a:pt x="249" y="213"/>
                  </a:lnTo>
                  <a:lnTo>
                    <a:pt x="250" y="227"/>
                  </a:lnTo>
                  <a:lnTo>
                    <a:pt x="252" y="239"/>
                  </a:lnTo>
                  <a:lnTo>
                    <a:pt x="253" y="253"/>
                  </a:lnTo>
                  <a:lnTo>
                    <a:pt x="254" y="269"/>
                  </a:lnTo>
                  <a:lnTo>
                    <a:pt x="257" y="285"/>
                  </a:lnTo>
                  <a:lnTo>
                    <a:pt x="263" y="294"/>
                  </a:lnTo>
                  <a:lnTo>
                    <a:pt x="187" y="294"/>
                  </a:lnTo>
                  <a:lnTo>
                    <a:pt x="183" y="285"/>
                  </a:lnTo>
                  <a:lnTo>
                    <a:pt x="180" y="271"/>
                  </a:lnTo>
                  <a:lnTo>
                    <a:pt x="179" y="257"/>
                  </a:lnTo>
                  <a:lnTo>
                    <a:pt x="179" y="247"/>
                  </a:lnTo>
                  <a:lnTo>
                    <a:pt x="178" y="233"/>
                  </a:lnTo>
                  <a:lnTo>
                    <a:pt x="175" y="219"/>
                  </a:lnTo>
                  <a:lnTo>
                    <a:pt x="169" y="206"/>
                  </a:lnTo>
                  <a:lnTo>
                    <a:pt x="162" y="195"/>
                  </a:lnTo>
                  <a:lnTo>
                    <a:pt x="151" y="190"/>
                  </a:lnTo>
                  <a:lnTo>
                    <a:pt x="136" y="187"/>
                  </a:lnTo>
                  <a:lnTo>
                    <a:pt x="77" y="187"/>
                  </a:lnTo>
                  <a:lnTo>
                    <a:pt x="77" y="294"/>
                  </a:lnTo>
                  <a:lnTo>
                    <a:pt x="0" y="294"/>
                  </a:lnTo>
                  <a:lnTo>
                    <a:pt x="0" y="0"/>
                  </a:lnTo>
                  <a:close/>
                  <a:moveTo>
                    <a:pt x="77" y="128"/>
                  </a:moveTo>
                  <a:lnTo>
                    <a:pt x="141" y="128"/>
                  </a:lnTo>
                  <a:lnTo>
                    <a:pt x="157" y="125"/>
                  </a:lnTo>
                  <a:lnTo>
                    <a:pt x="168" y="118"/>
                  </a:lnTo>
                  <a:lnTo>
                    <a:pt x="175" y="109"/>
                  </a:lnTo>
                  <a:lnTo>
                    <a:pt x="178" y="93"/>
                  </a:lnTo>
                  <a:lnTo>
                    <a:pt x="176" y="81"/>
                  </a:lnTo>
                  <a:lnTo>
                    <a:pt x="169" y="72"/>
                  </a:lnTo>
                  <a:lnTo>
                    <a:pt x="161" y="65"/>
                  </a:lnTo>
                  <a:lnTo>
                    <a:pt x="151" y="63"/>
                  </a:lnTo>
                  <a:lnTo>
                    <a:pt x="139" y="61"/>
                  </a:lnTo>
                  <a:lnTo>
                    <a:pt x="77" y="61"/>
                  </a:lnTo>
                  <a:lnTo>
                    <a:pt x="77" y="128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46" name="Freeform 15"/>
            <p:cNvSpPr>
              <a:spLocks noEditPoints="1"/>
            </p:cNvSpPr>
            <p:nvPr/>
          </p:nvSpPr>
          <p:spPr bwMode="auto">
            <a:xfrm>
              <a:off x="9148875" y="6692294"/>
              <a:ext cx="55250" cy="601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7" y="0"/>
                </a:cxn>
                <a:cxn ang="0">
                  <a:pos x="159" y="3"/>
                </a:cxn>
                <a:cxn ang="0">
                  <a:pos x="187" y="10"/>
                </a:cxn>
                <a:cxn ang="0">
                  <a:pos x="212" y="22"/>
                </a:cxn>
                <a:cxn ang="0">
                  <a:pos x="231" y="39"/>
                </a:cxn>
                <a:cxn ang="0">
                  <a:pos x="248" y="60"/>
                </a:cxn>
                <a:cxn ang="0">
                  <a:pos x="261" y="85"/>
                </a:cxn>
                <a:cxn ang="0">
                  <a:pos x="268" y="114"/>
                </a:cxn>
                <a:cxn ang="0">
                  <a:pos x="271" y="146"/>
                </a:cxn>
                <a:cxn ang="0">
                  <a:pos x="268" y="180"/>
                </a:cxn>
                <a:cxn ang="0">
                  <a:pos x="261" y="211"/>
                </a:cxn>
                <a:cxn ang="0">
                  <a:pos x="248" y="236"/>
                </a:cxn>
                <a:cxn ang="0">
                  <a:pos x="231" y="257"/>
                </a:cxn>
                <a:cxn ang="0">
                  <a:pos x="212" y="274"/>
                </a:cxn>
                <a:cxn ang="0">
                  <a:pos x="187" y="285"/>
                </a:cxn>
                <a:cxn ang="0">
                  <a:pos x="159" y="292"/>
                </a:cxn>
                <a:cxn ang="0">
                  <a:pos x="127" y="294"/>
                </a:cxn>
                <a:cxn ang="0">
                  <a:pos x="0" y="294"/>
                </a:cxn>
                <a:cxn ang="0">
                  <a:pos x="0" y="0"/>
                </a:cxn>
                <a:cxn ang="0">
                  <a:pos x="266" y="145"/>
                </a:cxn>
                <a:cxn ang="0">
                  <a:pos x="76" y="42"/>
                </a:cxn>
                <a:cxn ang="0">
                  <a:pos x="76" y="253"/>
                </a:cxn>
                <a:cxn ang="0">
                  <a:pos x="266" y="145"/>
                </a:cxn>
              </a:cxnLst>
              <a:rect l="0" t="0" r="r" b="b"/>
              <a:pathLst>
                <a:path w="271" h="294">
                  <a:moveTo>
                    <a:pt x="0" y="0"/>
                  </a:moveTo>
                  <a:lnTo>
                    <a:pt x="127" y="0"/>
                  </a:lnTo>
                  <a:lnTo>
                    <a:pt x="159" y="3"/>
                  </a:lnTo>
                  <a:lnTo>
                    <a:pt x="187" y="10"/>
                  </a:lnTo>
                  <a:lnTo>
                    <a:pt x="212" y="22"/>
                  </a:lnTo>
                  <a:lnTo>
                    <a:pt x="231" y="39"/>
                  </a:lnTo>
                  <a:lnTo>
                    <a:pt x="248" y="60"/>
                  </a:lnTo>
                  <a:lnTo>
                    <a:pt x="261" y="85"/>
                  </a:lnTo>
                  <a:lnTo>
                    <a:pt x="268" y="114"/>
                  </a:lnTo>
                  <a:lnTo>
                    <a:pt x="271" y="146"/>
                  </a:lnTo>
                  <a:lnTo>
                    <a:pt x="268" y="180"/>
                  </a:lnTo>
                  <a:lnTo>
                    <a:pt x="261" y="211"/>
                  </a:lnTo>
                  <a:lnTo>
                    <a:pt x="248" y="236"/>
                  </a:lnTo>
                  <a:lnTo>
                    <a:pt x="231" y="257"/>
                  </a:lnTo>
                  <a:lnTo>
                    <a:pt x="212" y="274"/>
                  </a:lnTo>
                  <a:lnTo>
                    <a:pt x="187" y="285"/>
                  </a:lnTo>
                  <a:lnTo>
                    <a:pt x="159" y="292"/>
                  </a:lnTo>
                  <a:lnTo>
                    <a:pt x="127" y="294"/>
                  </a:lnTo>
                  <a:lnTo>
                    <a:pt x="0" y="294"/>
                  </a:lnTo>
                  <a:lnTo>
                    <a:pt x="0" y="0"/>
                  </a:lnTo>
                  <a:close/>
                  <a:moveTo>
                    <a:pt x="266" y="145"/>
                  </a:moveTo>
                  <a:lnTo>
                    <a:pt x="76" y="42"/>
                  </a:lnTo>
                  <a:lnTo>
                    <a:pt x="76" y="253"/>
                  </a:lnTo>
                  <a:lnTo>
                    <a:pt x="266" y="145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auto">
            <a:xfrm>
              <a:off x="9241094" y="6676450"/>
              <a:ext cx="28844" cy="76375"/>
            </a:xfrm>
            <a:custGeom>
              <a:avLst/>
              <a:gdLst/>
              <a:ahLst/>
              <a:cxnLst>
                <a:cxn ang="0">
                  <a:pos x="87" y="87"/>
                </a:cxn>
                <a:cxn ang="0">
                  <a:pos x="144" y="87"/>
                </a:cxn>
                <a:cxn ang="0">
                  <a:pos x="144" y="116"/>
                </a:cxn>
                <a:cxn ang="0">
                  <a:pos x="87" y="116"/>
                </a:cxn>
                <a:cxn ang="0">
                  <a:pos x="87" y="323"/>
                </a:cxn>
                <a:cxn ang="0">
                  <a:pos x="90" y="333"/>
                </a:cxn>
                <a:cxn ang="0">
                  <a:pos x="94" y="341"/>
                </a:cxn>
                <a:cxn ang="0">
                  <a:pos x="102" y="345"/>
                </a:cxn>
                <a:cxn ang="0">
                  <a:pos x="115" y="348"/>
                </a:cxn>
                <a:cxn ang="0">
                  <a:pos x="144" y="347"/>
                </a:cxn>
                <a:cxn ang="0">
                  <a:pos x="144" y="376"/>
                </a:cxn>
                <a:cxn ang="0">
                  <a:pos x="129" y="377"/>
                </a:cxn>
                <a:cxn ang="0">
                  <a:pos x="113" y="377"/>
                </a:cxn>
                <a:cxn ang="0">
                  <a:pos x="92" y="376"/>
                </a:cxn>
                <a:cxn ang="0">
                  <a:pos x="77" y="372"/>
                </a:cxn>
                <a:cxn ang="0">
                  <a:pos x="64" y="363"/>
                </a:cxn>
                <a:cxn ang="0">
                  <a:pos x="56" y="351"/>
                </a:cxn>
                <a:cxn ang="0">
                  <a:pos x="52" y="335"/>
                </a:cxn>
                <a:cxn ang="0">
                  <a:pos x="50" y="313"/>
                </a:cxn>
                <a:cxn ang="0">
                  <a:pos x="50" y="116"/>
                </a:cxn>
                <a:cxn ang="0">
                  <a:pos x="0" y="116"/>
                </a:cxn>
                <a:cxn ang="0">
                  <a:pos x="0" y="87"/>
                </a:cxn>
                <a:cxn ang="0">
                  <a:pos x="50" y="87"/>
                </a:cxn>
                <a:cxn ang="0">
                  <a:pos x="50" y="0"/>
                </a:cxn>
                <a:cxn ang="0">
                  <a:pos x="87" y="0"/>
                </a:cxn>
                <a:cxn ang="0">
                  <a:pos x="87" y="87"/>
                </a:cxn>
              </a:cxnLst>
              <a:rect l="0" t="0" r="r" b="b"/>
              <a:pathLst>
                <a:path w="144" h="377">
                  <a:moveTo>
                    <a:pt x="87" y="87"/>
                  </a:moveTo>
                  <a:lnTo>
                    <a:pt x="144" y="87"/>
                  </a:lnTo>
                  <a:lnTo>
                    <a:pt x="144" y="116"/>
                  </a:lnTo>
                  <a:lnTo>
                    <a:pt x="87" y="116"/>
                  </a:lnTo>
                  <a:lnTo>
                    <a:pt x="87" y="323"/>
                  </a:lnTo>
                  <a:lnTo>
                    <a:pt x="90" y="333"/>
                  </a:lnTo>
                  <a:lnTo>
                    <a:pt x="94" y="341"/>
                  </a:lnTo>
                  <a:lnTo>
                    <a:pt x="102" y="345"/>
                  </a:lnTo>
                  <a:lnTo>
                    <a:pt x="115" y="348"/>
                  </a:lnTo>
                  <a:lnTo>
                    <a:pt x="144" y="347"/>
                  </a:lnTo>
                  <a:lnTo>
                    <a:pt x="144" y="376"/>
                  </a:lnTo>
                  <a:lnTo>
                    <a:pt x="129" y="377"/>
                  </a:lnTo>
                  <a:lnTo>
                    <a:pt x="113" y="377"/>
                  </a:lnTo>
                  <a:lnTo>
                    <a:pt x="92" y="376"/>
                  </a:lnTo>
                  <a:lnTo>
                    <a:pt x="77" y="372"/>
                  </a:lnTo>
                  <a:lnTo>
                    <a:pt x="64" y="363"/>
                  </a:lnTo>
                  <a:lnTo>
                    <a:pt x="56" y="351"/>
                  </a:lnTo>
                  <a:lnTo>
                    <a:pt x="52" y="335"/>
                  </a:lnTo>
                  <a:lnTo>
                    <a:pt x="50" y="313"/>
                  </a:lnTo>
                  <a:lnTo>
                    <a:pt x="50" y="116"/>
                  </a:lnTo>
                  <a:lnTo>
                    <a:pt x="0" y="116"/>
                  </a:lnTo>
                  <a:lnTo>
                    <a:pt x="0" y="87"/>
                  </a:lnTo>
                  <a:lnTo>
                    <a:pt x="50" y="87"/>
                  </a:lnTo>
                  <a:lnTo>
                    <a:pt x="50" y="0"/>
                  </a:lnTo>
                  <a:lnTo>
                    <a:pt x="87" y="0"/>
                  </a:lnTo>
                  <a:lnTo>
                    <a:pt x="87" y="8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auto">
            <a:xfrm>
              <a:off x="9291875" y="6671575"/>
              <a:ext cx="47125" cy="8084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" y="0"/>
                </a:cxn>
                <a:cxn ang="0">
                  <a:pos x="35" y="160"/>
                </a:cxn>
                <a:cxn ang="0">
                  <a:pos x="36" y="160"/>
                </a:cxn>
                <a:cxn ang="0">
                  <a:pos x="48" y="141"/>
                </a:cxn>
                <a:cxn ang="0">
                  <a:pos x="63" y="125"/>
                </a:cxn>
                <a:cxn ang="0">
                  <a:pos x="83" y="114"/>
                </a:cxn>
                <a:cxn ang="0">
                  <a:pos x="105" y="105"/>
                </a:cxn>
                <a:cxn ang="0">
                  <a:pos x="129" y="102"/>
                </a:cxn>
                <a:cxn ang="0">
                  <a:pos x="157" y="104"/>
                </a:cxn>
                <a:cxn ang="0">
                  <a:pos x="179" y="109"/>
                </a:cxn>
                <a:cxn ang="0">
                  <a:pos x="197" y="119"/>
                </a:cxn>
                <a:cxn ang="0">
                  <a:pos x="211" y="132"/>
                </a:cxn>
                <a:cxn ang="0">
                  <a:pos x="222" y="147"/>
                </a:cxn>
                <a:cxn ang="0">
                  <a:pos x="228" y="167"/>
                </a:cxn>
                <a:cxn ang="0">
                  <a:pos x="232" y="189"/>
                </a:cxn>
                <a:cxn ang="0">
                  <a:pos x="233" y="213"/>
                </a:cxn>
                <a:cxn ang="0">
                  <a:pos x="233" y="398"/>
                </a:cxn>
                <a:cxn ang="0">
                  <a:pos x="198" y="398"/>
                </a:cxn>
                <a:cxn ang="0">
                  <a:pos x="198" y="218"/>
                </a:cxn>
                <a:cxn ang="0">
                  <a:pos x="197" y="199"/>
                </a:cxn>
                <a:cxn ang="0">
                  <a:pos x="194" y="179"/>
                </a:cxn>
                <a:cxn ang="0">
                  <a:pos x="187" y="164"/>
                </a:cxn>
                <a:cxn ang="0">
                  <a:pos x="179" y="150"/>
                </a:cxn>
                <a:cxn ang="0">
                  <a:pos x="165" y="140"/>
                </a:cxn>
                <a:cxn ang="0">
                  <a:pos x="148" y="134"/>
                </a:cxn>
                <a:cxn ang="0">
                  <a:pos x="126" y="132"/>
                </a:cxn>
                <a:cxn ang="0">
                  <a:pos x="99" y="134"/>
                </a:cxn>
                <a:cxn ang="0">
                  <a:pos x="78" y="144"/>
                </a:cxn>
                <a:cxn ang="0">
                  <a:pos x="60" y="160"/>
                </a:cxn>
                <a:cxn ang="0">
                  <a:pos x="46" y="179"/>
                </a:cxn>
                <a:cxn ang="0">
                  <a:pos x="38" y="204"/>
                </a:cxn>
                <a:cxn ang="0">
                  <a:pos x="35" y="231"/>
                </a:cxn>
                <a:cxn ang="0">
                  <a:pos x="35" y="398"/>
                </a:cxn>
                <a:cxn ang="0">
                  <a:pos x="0" y="398"/>
                </a:cxn>
                <a:cxn ang="0">
                  <a:pos x="0" y="0"/>
                </a:cxn>
              </a:cxnLst>
              <a:rect l="0" t="0" r="r" b="b"/>
              <a:pathLst>
                <a:path w="233" h="398">
                  <a:moveTo>
                    <a:pt x="0" y="0"/>
                  </a:moveTo>
                  <a:lnTo>
                    <a:pt x="35" y="0"/>
                  </a:lnTo>
                  <a:lnTo>
                    <a:pt x="35" y="160"/>
                  </a:lnTo>
                  <a:lnTo>
                    <a:pt x="36" y="160"/>
                  </a:lnTo>
                  <a:lnTo>
                    <a:pt x="48" y="141"/>
                  </a:lnTo>
                  <a:lnTo>
                    <a:pt x="63" y="125"/>
                  </a:lnTo>
                  <a:lnTo>
                    <a:pt x="83" y="114"/>
                  </a:lnTo>
                  <a:lnTo>
                    <a:pt x="105" y="105"/>
                  </a:lnTo>
                  <a:lnTo>
                    <a:pt x="129" y="102"/>
                  </a:lnTo>
                  <a:lnTo>
                    <a:pt x="157" y="104"/>
                  </a:lnTo>
                  <a:lnTo>
                    <a:pt x="179" y="109"/>
                  </a:lnTo>
                  <a:lnTo>
                    <a:pt x="197" y="119"/>
                  </a:lnTo>
                  <a:lnTo>
                    <a:pt x="211" y="132"/>
                  </a:lnTo>
                  <a:lnTo>
                    <a:pt x="222" y="147"/>
                  </a:lnTo>
                  <a:lnTo>
                    <a:pt x="228" y="167"/>
                  </a:lnTo>
                  <a:lnTo>
                    <a:pt x="232" y="189"/>
                  </a:lnTo>
                  <a:lnTo>
                    <a:pt x="233" y="213"/>
                  </a:lnTo>
                  <a:lnTo>
                    <a:pt x="233" y="398"/>
                  </a:lnTo>
                  <a:lnTo>
                    <a:pt x="198" y="398"/>
                  </a:lnTo>
                  <a:lnTo>
                    <a:pt x="198" y="218"/>
                  </a:lnTo>
                  <a:lnTo>
                    <a:pt x="197" y="199"/>
                  </a:lnTo>
                  <a:lnTo>
                    <a:pt x="194" y="179"/>
                  </a:lnTo>
                  <a:lnTo>
                    <a:pt x="187" y="164"/>
                  </a:lnTo>
                  <a:lnTo>
                    <a:pt x="179" y="150"/>
                  </a:lnTo>
                  <a:lnTo>
                    <a:pt x="165" y="140"/>
                  </a:lnTo>
                  <a:lnTo>
                    <a:pt x="148" y="134"/>
                  </a:lnTo>
                  <a:lnTo>
                    <a:pt x="126" y="132"/>
                  </a:lnTo>
                  <a:lnTo>
                    <a:pt x="99" y="134"/>
                  </a:lnTo>
                  <a:lnTo>
                    <a:pt x="78" y="144"/>
                  </a:lnTo>
                  <a:lnTo>
                    <a:pt x="60" y="160"/>
                  </a:lnTo>
                  <a:lnTo>
                    <a:pt x="46" y="179"/>
                  </a:lnTo>
                  <a:lnTo>
                    <a:pt x="38" y="204"/>
                  </a:lnTo>
                  <a:lnTo>
                    <a:pt x="35" y="231"/>
                  </a:lnTo>
                  <a:lnTo>
                    <a:pt x="35" y="398"/>
                  </a:lnTo>
                  <a:lnTo>
                    <a:pt x="0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49" name="Freeform 18"/>
            <p:cNvSpPr>
              <a:spLocks noEditPoints="1"/>
            </p:cNvSpPr>
            <p:nvPr/>
          </p:nvSpPr>
          <p:spPr bwMode="auto">
            <a:xfrm>
              <a:off x="9364187" y="6671575"/>
              <a:ext cx="6906" cy="8084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" y="0"/>
                </a:cxn>
                <a:cxn ang="0">
                  <a:pos x="35" y="56"/>
                </a:cxn>
                <a:cxn ang="0">
                  <a:pos x="0" y="56"/>
                </a:cxn>
                <a:cxn ang="0">
                  <a:pos x="0" y="0"/>
                </a:cxn>
                <a:cxn ang="0">
                  <a:pos x="0" y="111"/>
                </a:cxn>
                <a:cxn ang="0">
                  <a:pos x="35" y="111"/>
                </a:cxn>
                <a:cxn ang="0">
                  <a:pos x="35" y="398"/>
                </a:cxn>
                <a:cxn ang="0">
                  <a:pos x="0" y="398"/>
                </a:cxn>
                <a:cxn ang="0">
                  <a:pos x="0" y="111"/>
                </a:cxn>
              </a:cxnLst>
              <a:rect l="0" t="0" r="r" b="b"/>
              <a:pathLst>
                <a:path w="35" h="398">
                  <a:moveTo>
                    <a:pt x="0" y="0"/>
                  </a:moveTo>
                  <a:lnTo>
                    <a:pt x="35" y="0"/>
                  </a:lnTo>
                  <a:lnTo>
                    <a:pt x="35" y="56"/>
                  </a:lnTo>
                  <a:lnTo>
                    <a:pt x="0" y="56"/>
                  </a:lnTo>
                  <a:lnTo>
                    <a:pt x="0" y="0"/>
                  </a:lnTo>
                  <a:close/>
                  <a:moveTo>
                    <a:pt x="0" y="111"/>
                  </a:moveTo>
                  <a:lnTo>
                    <a:pt x="35" y="111"/>
                  </a:lnTo>
                  <a:lnTo>
                    <a:pt x="35" y="398"/>
                  </a:lnTo>
                  <a:lnTo>
                    <a:pt x="0" y="398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auto">
            <a:xfrm>
              <a:off x="9396281" y="6692294"/>
              <a:ext cx="47125" cy="60125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5" y="9"/>
                </a:cxn>
                <a:cxn ang="0">
                  <a:pos x="35" y="58"/>
                </a:cxn>
                <a:cxn ang="0">
                  <a:pos x="36" y="58"/>
                </a:cxn>
                <a:cxn ang="0">
                  <a:pos x="48" y="39"/>
                </a:cxn>
                <a:cxn ang="0">
                  <a:pos x="63" y="23"/>
                </a:cxn>
                <a:cxn ang="0">
                  <a:pos x="83" y="12"/>
                </a:cxn>
                <a:cxn ang="0">
                  <a:pos x="105" y="3"/>
                </a:cxn>
                <a:cxn ang="0">
                  <a:pos x="129" y="0"/>
                </a:cxn>
                <a:cxn ang="0">
                  <a:pos x="157" y="2"/>
                </a:cxn>
                <a:cxn ang="0">
                  <a:pos x="179" y="7"/>
                </a:cxn>
                <a:cxn ang="0">
                  <a:pos x="197" y="17"/>
                </a:cxn>
                <a:cxn ang="0">
                  <a:pos x="211" y="30"/>
                </a:cxn>
                <a:cxn ang="0">
                  <a:pos x="222" y="45"/>
                </a:cxn>
                <a:cxn ang="0">
                  <a:pos x="228" y="65"/>
                </a:cxn>
                <a:cxn ang="0">
                  <a:pos x="232" y="87"/>
                </a:cxn>
                <a:cxn ang="0">
                  <a:pos x="233" y="111"/>
                </a:cxn>
                <a:cxn ang="0">
                  <a:pos x="233" y="296"/>
                </a:cxn>
                <a:cxn ang="0">
                  <a:pos x="198" y="296"/>
                </a:cxn>
                <a:cxn ang="0">
                  <a:pos x="198" y="116"/>
                </a:cxn>
                <a:cxn ang="0">
                  <a:pos x="197" y="97"/>
                </a:cxn>
                <a:cxn ang="0">
                  <a:pos x="194" y="77"/>
                </a:cxn>
                <a:cxn ang="0">
                  <a:pos x="187" y="62"/>
                </a:cxn>
                <a:cxn ang="0">
                  <a:pos x="179" y="48"/>
                </a:cxn>
                <a:cxn ang="0">
                  <a:pos x="165" y="38"/>
                </a:cxn>
                <a:cxn ang="0">
                  <a:pos x="148" y="32"/>
                </a:cxn>
                <a:cxn ang="0">
                  <a:pos x="126" y="30"/>
                </a:cxn>
                <a:cxn ang="0">
                  <a:pos x="99" y="32"/>
                </a:cxn>
                <a:cxn ang="0">
                  <a:pos x="78" y="42"/>
                </a:cxn>
                <a:cxn ang="0">
                  <a:pos x="60" y="58"/>
                </a:cxn>
                <a:cxn ang="0">
                  <a:pos x="46" y="77"/>
                </a:cxn>
                <a:cxn ang="0">
                  <a:pos x="38" y="102"/>
                </a:cxn>
                <a:cxn ang="0">
                  <a:pos x="35" y="129"/>
                </a:cxn>
                <a:cxn ang="0">
                  <a:pos x="35" y="296"/>
                </a:cxn>
                <a:cxn ang="0">
                  <a:pos x="0" y="296"/>
                </a:cxn>
                <a:cxn ang="0">
                  <a:pos x="0" y="9"/>
                </a:cxn>
              </a:cxnLst>
              <a:rect l="0" t="0" r="r" b="b"/>
              <a:pathLst>
                <a:path w="233" h="296">
                  <a:moveTo>
                    <a:pt x="0" y="9"/>
                  </a:moveTo>
                  <a:lnTo>
                    <a:pt x="35" y="9"/>
                  </a:lnTo>
                  <a:lnTo>
                    <a:pt x="35" y="58"/>
                  </a:lnTo>
                  <a:lnTo>
                    <a:pt x="36" y="58"/>
                  </a:lnTo>
                  <a:lnTo>
                    <a:pt x="48" y="39"/>
                  </a:lnTo>
                  <a:lnTo>
                    <a:pt x="63" y="23"/>
                  </a:lnTo>
                  <a:lnTo>
                    <a:pt x="83" y="12"/>
                  </a:lnTo>
                  <a:lnTo>
                    <a:pt x="105" y="3"/>
                  </a:lnTo>
                  <a:lnTo>
                    <a:pt x="129" y="0"/>
                  </a:lnTo>
                  <a:lnTo>
                    <a:pt x="157" y="2"/>
                  </a:lnTo>
                  <a:lnTo>
                    <a:pt x="179" y="7"/>
                  </a:lnTo>
                  <a:lnTo>
                    <a:pt x="197" y="17"/>
                  </a:lnTo>
                  <a:lnTo>
                    <a:pt x="211" y="30"/>
                  </a:lnTo>
                  <a:lnTo>
                    <a:pt x="222" y="45"/>
                  </a:lnTo>
                  <a:lnTo>
                    <a:pt x="228" y="65"/>
                  </a:lnTo>
                  <a:lnTo>
                    <a:pt x="232" y="87"/>
                  </a:lnTo>
                  <a:lnTo>
                    <a:pt x="233" y="111"/>
                  </a:lnTo>
                  <a:lnTo>
                    <a:pt x="233" y="296"/>
                  </a:lnTo>
                  <a:lnTo>
                    <a:pt x="198" y="296"/>
                  </a:lnTo>
                  <a:lnTo>
                    <a:pt x="198" y="116"/>
                  </a:lnTo>
                  <a:lnTo>
                    <a:pt x="197" y="97"/>
                  </a:lnTo>
                  <a:lnTo>
                    <a:pt x="194" y="77"/>
                  </a:lnTo>
                  <a:lnTo>
                    <a:pt x="187" y="62"/>
                  </a:lnTo>
                  <a:lnTo>
                    <a:pt x="179" y="48"/>
                  </a:lnTo>
                  <a:lnTo>
                    <a:pt x="165" y="38"/>
                  </a:lnTo>
                  <a:lnTo>
                    <a:pt x="148" y="32"/>
                  </a:lnTo>
                  <a:lnTo>
                    <a:pt x="126" y="30"/>
                  </a:lnTo>
                  <a:lnTo>
                    <a:pt x="99" y="32"/>
                  </a:lnTo>
                  <a:lnTo>
                    <a:pt x="78" y="42"/>
                  </a:lnTo>
                  <a:lnTo>
                    <a:pt x="60" y="58"/>
                  </a:lnTo>
                  <a:lnTo>
                    <a:pt x="46" y="77"/>
                  </a:lnTo>
                  <a:lnTo>
                    <a:pt x="38" y="102"/>
                  </a:lnTo>
                  <a:lnTo>
                    <a:pt x="35" y="129"/>
                  </a:lnTo>
                  <a:lnTo>
                    <a:pt x="35" y="296"/>
                  </a:lnTo>
                  <a:lnTo>
                    <a:pt x="0" y="296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auto">
            <a:xfrm>
              <a:off x="9468594" y="6671575"/>
              <a:ext cx="50375" cy="8084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" y="0"/>
                </a:cxn>
                <a:cxn ang="0">
                  <a:pos x="35" y="250"/>
                </a:cxn>
                <a:cxn ang="0">
                  <a:pos x="194" y="111"/>
                </a:cxn>
                <a:cxn ang="0">
                  <a:pos x="241" y="111"/>
                </a:cxn>
                <a:cxn ang="0">
                  <a:pos x="119" y="217"/>
                </a:cxn>
                <a:cxn ang="0">
                  <a:pos x="249" y="398"/>
                </a:cxn>
                <a:cxn ang="0">
                  <a:pos x="206" y="398"/>
                </a:cxn>
                <a:cxn ang="0">
                  <a:pos x="91" y="242"/>
                </a:cxn>
                <a:cxn ang="0">
                  <a:pos x="35" y="290"/>
                </a:cxn>
                <a:cxn ang="0">
                  <a:pos x="35" y="398"/>
                </a:cxn>
                <a:cxn ang="0">
                  <a:pos x="0" y="398"/>
                </a:cxn>
                <a:cxn ang="0">
                  <a:pos x="0" y="0"/>
                </a:cxn>
              </a:cxnLst>
              <a:rect l="0" t="0" r="r" b="b"/>
              <a:pathLst>
                <a:path w="249" h="398">
                  <a:moveTo>
                    <a:pt x="0" y="0"/>
                  </a:moveTo>
                  <a:lnTo>
                    <a:pt x="35" y="0"/>
                  </a:lnTo>
                  <a:lnTo>
                    <a:pt x="35" y="250"/>
                  </a:lnTo>
                  <a:lnTo>
                    <a:pt x="194" y="111"/>
                  </a:lnTo>
                  <a:lnTo>
                    <a:pt x="241" y="111"/>
                  </a:lnTo>
                  <a:lnTo>
                    <a:pt x="119" y="217"/>
                  </a:lnTo>
                  <a:lnTo>
                    <a:pt x="249" y="398"/>
                  </a:lnTo>
                  <a:lnTo>
                    <a:pt x="206" y="398"/>
                  </a:lnTo>
                  <a:lnTo>
                    <a:pt x="91" y="242"/>
                  </a:lnTo>
                  <a:lnTo>
                    <a:pt x="35" y="290"/>
                  </a:lnTo>
                  <a:lnTo>
                    <a:pt x="35" y="398"/>
                  </a:lnTo>
                  <a:lnTo>
                    <a:pt x="0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52" name="Freeform 21"/>
            <p:cNvSpPr>
              <a:spLocks noEditPoints="1"/>
            </p:cNvSpPr>
            <p:nvPr/>
          </p:nvSpPr>
          <p:spPr bwMode="auto">
            <a:xfrm>
              <a:off x="9536437" y="6671575"/>
              <a:ext cx="7313" cy="8084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6" y="0"/>
                </a:cxn>
                <a:cxn ang="0">
                  <a:pos x="36" y="56"/>
                </a:cxn>
                <a:cxn ang="0">
                  <a:pos x="0" y="56"/>
                </a:cxn>
                <a:cxn ang="0">
                  <a:pos x="0" y="0"/>
                </a:cxn>
                <a:cxn ang="0">
                  <a:pos x="0" y="111"/>
                </a:cxn>
                <a:cxn ang="0">
                  <a:pos x="36" y="111"/>
                </a:cxn>
                <a:cxn ang="0">
                  <a:pos x="36" y="398"/>
                </a:cxn>
                <a:cxn ang="0">
                  <a:pos x="0" y="398"/>
                </a:cxn>
                <a:cxn ang="0">
                  <a:pos x="0" y="111"/>
                </a:cxn>
              </a:cxnLst>
              <a:rect l="0" t="0" r="r" b="b"/>
              <a:pathLst>
                <a:path w="36" h="398">
                  <a:moveTo>
                    <a:pt x="0" y="0"/>
                  </a:moveTo>
                  <a:lnTo>
                    <a:pt x="36" y="0"/>
                  </a:lnTo>
                  <a:lnTo>
                    <a:pt x="36" y="56"/>
                  </a:lnTo>
                  <a:lnTo>
                    <a:pt x="0" y="56"/>
                  </a:lnTo>
                  <a:lnTo>
                    <a:pt x="0" y="0"/>
                  </a:lnTo>
                  <a:close/>
                  <a:moveTo>
                    <a:pt x="0" y="111"/>
                  </a:moveTo>
                  <a:lnTo>
                    <a:pt x="36" y="111"/>
                  </a:lnTo>
                  <a:lnTo>
                    <a:pt x="36" y="398"/>
                  </a:lnTo>
                  <a:lnTo>
                    <a:pt x="0" y="398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53" name="Freeform 22"/>
            <p:cNvSpPr>
              <a:spLocks/>
            </p:cNvSpPr>
            <p:nvPr/>
          </p:nvSpPr>
          <p:spPr bwMode="auto">
            <a:xfrm>
              <a:off x="9568531" y="6692294"/>
              <a:ext cx="47531" cy="60125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6" y="9"/>
                </a:cxn>
                <a:cxn ang="0">
                  <a:pos x="36" y="58"/>
                </a:cxn>
                <a:cxn ang="0">
                  <a:pos x="47" y="39"/>
                </a:cxn>
                <a:cxn ang="0">
                  <a:pos x="63" y="23"/>
                </a:cxn>
                <a:cxn ang="0">
                  <a:pos x="82" y="12"/>
                </a:cxn>
                <a:cxn ang="0">
                  <a:pos x="105" y="3"/>
                </a:cxn>
                <a:cxn ang="0">
                  <a:pos x="129" y="0"/>
                </a:cxn>
                <a:cxn ang="0">
                  <a:pos x="156" y="2"/>
                </a:cxn>
                <a:cxn ang="0">
                  <a:pos x="179" y="7"/>
                </a:cxn>
                <a:cxn ang="0">
                  <a:pos x="198" y="17"/>
                </a:cxn>
                <a:cxn ang="0">
                  <a:pos x="212" y="30"/>
                </a:cxn>
                <a:cxn ang="0">
                  <a:pos x="222" y="45"/>
                </a:cxn>
                <a:cxn ang="0">
                  <a:pos x="229" y="65"/>
                </a:cxn>
                <a:cxn ang="0">
                  <a:pos x="233" y="87"/>
                </a:cxn>
                <a:cxn ang="0">
                  <a:pos x="235" y="111"/>
                </a:cxn>
                <a:cxn ang="0">
                  <a:pos x="235" y="296"/>
                </a:cxn>
                <a:cxn ang="0">
                  <a:pos x="198" y="296"/>
                </a:cxn>
                <a:cxn ang="0">
                  <a:pos x="198" y="116"/>
                </a:cxn>
                <a:cxn ang="0">
                  <a:pos x="197" y="97"/>
                </a:cxn>
                <a:cxn ang="0">
                  <a:pos x="194" y="77"/>
                </a:cxn>
                <a:cxn ang="0">
                  <a:pos x="187" y="62"/>
                </a:cxn>
                <a:cxn ang="0">
                  <a:pos x="179" y="48"/>
                </a:cxn>
                <a:cxn ang="0">
                  <a:pos x="165" y="38"/>
                </a:cxn>
                <a:cxn ang="0">
                  <a:pos x="148" y="32"/>
                </a:cxn>
                <a:cxn ang="0">
                  <a:pos x="126" y="30"/>
                </a:cxn>
                <a:cxn ang="0">
                  <a:pos x="99" y="32"/>
                </a:cxn>
                <a:cxn ang="0">
                  <a:pos x="78" y="42"/>
                </a:cxn>
                <a:cxn ang="0">
                  <a:pos x="60" y="58"/>
                </a:cxn>
                <a:cxn ang="0">
                  <a:pos x="47" y="77"/>
                </a:cxn>
                <a:cxn ang="0">
                  <a:pos x="39" y="102"/>
                </a:cxn>
                <a:cxn ang="0">
                  <a:pos x="36" y="129"/>
                </a:cxn>
                <a:cxn ang="0">
                  <a:pos x="36" y="296"/>
                </a:cxn>
                <a:cxn ang="0">
                  <a:pos x="0" y="296"/>
                </a:cxn>
                <a:cxn ang="0">
                  <a:pos x="0" y="9"/>
                </a:cxn>
              </a:cxnLst>
              <a:rect l="0" t="0" r="r" b="b"/>
              <a:pathLst>
                <a:path w="235" h="296">
                  <a:moveTo>
                    <a:pt x="0" y="9"/>
                  </a:moveTo>
                  <a:lnTo>
                    <a:pt x="36" y="9"/>
                  </a:lnTo>
                  <a:lnTo>
                    <a:pt x="36" y="58"/>
                  </a:lnTo>
                  <a:lnTo>
                    <a:pt x="47" y="39"/>
                  </a:lnTo>
                  <a:lnTo>
                    <a:pt x="63" y="23"/>
                  </a:lnTo>
                  <a:lnTo>
                    <a:pt x="82" y="12"/>
                  </a:lnTo>
                  <a:lnTo>
                    <a:pt x="105" y="3"/>
                  </a:lnTo>
                  <a:lnTo>
                    <a:pt x="129" y="0"/>
                  </a:lnTo>
                  <a:lnTo>
                    <a:pt x="156" y="2"/>
                  </a:lnTo>
                  <a:lnTo>
                    <a:pt x="179" y="7"/>
                  </a:lnTo>
                  <a:lnTo>
                    <a:pt x="198" y="17"/>
                  </a:lnTo>
                  <a:lnTo>
                    <a:pt x="212" y="30"/>
                  </a:lnTo>
                  <a:lnTo>
                    <a:pt x="222" y="45"/>
                  </a:lnTo>
                  <a:lnTo>
                    <a:pt x="229" y="65"/>
                  </a:lnTo>
                  <a:lnTo>
                    <a:pt x="233" y="87"/>
                  </a:lnTo>
                  <a:lnTo>
                    <a:pt x="235" y="111"/>
                  </a:lnTo>
                  <a:lnTo>
                    <a:pt x="235" y="296"/>
                  </a:lnTo>
                  <a:lnTo>
                    <a:pt x="198" y="296"/>
                  </a:lnTo>
                  <a:lnTo>
                    <a:pt x="198" y="116"/>
                  </a:lnTo>
                  <a:lnTo>
                    <a:pt x="197" y="97"/>
                  </a:lnTo>
                  <a:lnTo>
                    <a:pt x="194" y="77"/>
                  </a:lnTo>
                  <a:lnTo>
                    <a:pt x="187" y="62"/>
                  </a:lnTo>
                  <a:lnTo>
                    <a:pt x="179" y="48"/>
                  </a:lnTo>
                  <a:lnTo>
                    <a:pt x="165" y="38"/>
                  </a:lnTo>
                  <a:lnTo>
                    <a:pt x="148" y="32"/>
                  </a:lnTo>
                  <a:lnTo>
                    <a:pt x="126" y="30"/>
                  </a:lnTo>
                  <a:lnTo>
                    <a:pt x="99" y="32"/>
                  </a:lnTo>
                  <a:lnTo>
                    <a:pt x="78" y="42"/>
                  </a:lnTo>
                  <a:lnTo>
                    <a:pt x="60" y="58"/>
                  </a:lnTo>
                  <a:lnTo>
                    <a:pt x="47" y="77"/>
                  </a:lnTo>
                  <a:lnTo>
                    <a:pt x="39" y="102"/>
                  </a:lnTo>
                  <a:lnTo>
                    <a:pt x="36" y="129"/>
                  </a:lnTo>
                  <a:lnTo>
                    <a:pt x="36" y="296"/>
                  </a:lnTo>
                  <a:lnTo>
                    <a:pt x="0" y="296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54" name="Freeform 23"/>
            <p:cNvSpPr>
              <a:spLocks noEditPoints="1"/>
            </p:cNvSpPr>
            <p:nvPr/>
          </p:nvSpPr>
          <p:spPr bwMode="auto">
            <a:xfrm>
              <a:off x="9638000" y="6692294"/>
              <a:ext cx="52000" cy="83281"/>
            </a:xfrm>
            <a:custGeom>
              <a:avLst/>
              <a:gdLst/>
              <a:ahLst/>
              <a:cxnLst>
                <a:cxn ang="0">
                  <a:pos x="256" y="303"/>
                </a:cxn>
                <a:cxn ang="0">
                  <a:pos x="242" y="355"/>
                </a:cxn>
                <a:cxn ang="0">
                  <a:pos x="211" y="390"/>
                </a:cxn>
                <a:cxn ang="0">
                  <a:pos x="162" y="408"/>
                </a:cxn>
                <a:cxn ang="0">
                  <a:pos x="105" y="410"/>
                </a:cxn>
                <a:cxn ang="0">
                  <a:pos x="60" y="396"/>
                </a:cxn>
                <a:cxn ang="0">
                  <a:pos x="25" y="369"/>
                </a:cxn>
                <a:cxn ang="0">
                  <a:pos x="10" y="324"/>
                </a:cxn>
                <a:cxn ang="0">
                  <a:pos x="52" y="343"/>
                </a:cxn>
                <a:cxn ang="0">
                  <a:pos x="76" y="369"/>
                </a:cxn>
                <a:cxn ang="0">
                  <a:pos x="111" y="380"/>
                </a:cxn>
                <a:cxn ang="0">
                  <a:pos x="155" y="379"/>
                </a:cxn>
                <a:cxn ang="0">
                  <a:pos x="193" y="361"/>
                </a:cxn>
                <a:cxn ang="0">
                  <a:pos x="215" y="324"/>
                </a:cxn>
                <a:cxn ang="0">
                  <a:pos x="222" y="273"/>
                </a:cxn>
                <a:cxn ang="0">
                  <a:pos x="221" y="234"/>
                </a:cxn>
                <a:cxn ang="0">
                  <a:pos x="193" y="270"/>
                </a:cxn>
                <a:cxn ang="0">
                  <a:pos x="154" y="290"/>
                </a:cxn>
                <a:cxn ang="0">
                  <a:pos x="101" y="290"/>
                </a:cxn>
                <a:cxn ang="0">
                  <a:pos x="56" y="273"/>
                </a:cxn>
                <a:cxn ang="0">
                  <a:pos x="24" y="241"/>
                </a:cxn>
                <a:cxn ang="0">
                  <a:pos x="6" y="197"/>
                </a:cxn>
                <a:cxn ang="0">
                  <a:pos x="0" y="146"/>
                </a:cxn>
                <a:cxn ang="0">
                  <a:pos x="9" y="90"/>
                </a:cxn>
                <a:cxn ang="0">
                  <a:pos x="34" y="44"/>
                </a:cxn>
                <a:cxn ang="0">
                  <a:pos x="74" y="12"/>
                </a:cxn>
                <a:cxn ang="0">
                  <a:pos x="130" y="0"/>
                </a:cxn>
                <a:cxn ang="0">
                  <a:pos x="176" y="12"/>
                </a:cxn>
                <a:cxn ang="0">
                  <a:pos x="210" y="39"/>
                </a:cxn>
                <a:cxn ang="0">
                  <a:pos x="222" y="58"/>
                </a:cxn>
                <a:cxn ang="0">
                  <a:pos x="257" y="9"/>
                </a:cxn>
                <a:cxn ang="0">
                  <a:pos x="222" y="150"/>
                </a:cxn>
                <a:cxn ang="0">
                  <a:pos x="217" y="107"/>
                </a:cxn>
                <a:cxn ang="0">
                  <a:pos x="201" y="69"/>
                </a:cxn>
                <a:cxn ang="0">
                  <a:pos x="172" y="41"/>
                </a:cxn>
                <a:cxn ang="0">
                  <a:pos x="130" y="30"/>
                </a:cxn>
                <a:cxn ang="0">
                  <a:pos x="87" y="39"/>
                </a:cxn>
                <a:cxn ang="0">
                  <a:pos x="57" y="67"/>
                </a:cxn>
                <a:cxn ang="0">
                  <a:pos x="41" y="105"/>
                </a:cxn>
                <a:cxn ang="0">
                  <a:pos x="35" y="150"/>
                </a:cxn>
                <a:cxn ang="0">
                  <a:pos x="41" y="192"/>
                </a:cxn>
                <a:cxn ang="0">
                  <a:pos x="57" y="228"/>
                </a:cxn>
                <a:cxn ang="0">
                  <a:pos x="88" y="253"/>
                </a:cxn>
                <a:cxn ang="0">
                  <a:pos x="130" y="263"/>
                </a:cxn>
                <a:cxn ang="0">
                  <a:pos x="175" y="250"/>
                </a:cxn>
                <a:cxn ang="0">
                  <a:pos x="206" y="218"/>
                </a:cxn>
                <a:cxn ang="0">
                  <a:pos x="221" y="174"/>
                </a:cxn>
              </a:cxnLst>
              <a:rect l="0" t="0" r="r" b="b"/>
              <a:pathLst>
                <a:path w="257" h="411">
                  <a:moveTo>
                    <a:pt x="257" y="273"/>
                  </a:moveTo>
                  <a:lnTo>
                    <a:pt x="256" y="303"/>
                  </a:lnTo>
                  <a:lnTo>
                    <a:pt x="250" y="331"/>
                  </a:lnTo>
                  <a:lnTo>
                    <a:pt x="242" y="355"/>
                  </a:lnTo>
                  <a:lnTo>
                    <a:pt x="229" y="375"/>
                  </a:lnTo>
                  <a:lnTo>
                    <a:pt x="211" y="390"/>
                  </a:lnTo>
                  <a:lnTo>
                    <a:pt x="189" y="401"/>
                  </a:lnTo>
                  <a:lnTo>
                    <a:pt x="162" y="408"/>
                  </a:lnTo>
                  <a:lnTo>
                    <a:pt x="130" y="411"/>
                  </a:lnTo>
                  <a:lnTo>
                    <a:pt x="105" y="410"/>
                  </a:lnTo>
                  <a:lnTo>
                    <a:pt x="81" y="404"/>
                  </a:lnTo>
                  <a:lnTo>
                    <a:pt x="60" y="396"/>
                  </a:lnTo>
                  <a:lnTo>
                    <a:pt x="41" y="384"/>
                  </a:lnTo>
                  <a:lnTo>
                    <a:pt x="25" y="369"/>
                  </a:lnTo>
                  <a:lnTo>
                    <a:pt x="16" y="348"/>
                  </a:lnTo>
                  <a:lnTo>
                    <a:pt x="10" y="324"/>
                  </a:lnTo>
                  <a:lnTo>
                    <a:pt x="45" y="324"/>
                  </a:lnTo>
                  <a:lnTo>
                    <a:pt x="52" y="343"/>
                  </a:lnTo>
                  <a:lnTo>
                    <a:pt x="62" y="358"/>
                  </a:lnTo>
                  <a:lnTo>
                    <a:pt x="76" y="369"/>
                  </a:lnTo>
                  <a:lnTo>
                    <a:pt x="92" y="376"/>
                  </a:lnTo>
                  <a:lnTo>
                    <a:pt x="111" y="380"/>
                  </a:lnTo>
                  <a:lnTo>
                    <a:pt x="130" y="382"/>
                  </a:lnTo>
                  <a:lnTo>
                    <a:pt x="155" y="379"/>
                  </a:lnTo>
                  <a:lnTo>
                    <a:pt x="176" y="372"/>
                  </a:lnTo>
                  <a:lnTo>
                    <a:pt x="193" y="361"/>
                  </a:lnTo>
                  <a:lnTo>
                    <a:pt x="207" y="345"/>
                  </a:lnTo>
                  <a:lnTo>
                    <a:pt x="215" y="324"/>
                  </a:lnTo>
                  <a:lnTo>
                    <a:pt x="221" y="301"/>
                  </a:lnTo>
                  <a:lnTo>
                    <a:pt x="222" y="273"/>
                  </a:lnTo>
                  <a:lnTo>
                    <a:pt x="222" y="234"/>
                  </a:lnTo>
                  <a:lnTo>
                    <a:pt x="221" y="234"/>
                  </a:lnTo>
                  <a:lnTo>
                    <a:pt x="208" y="253"/>
                  </a:lnTo>
                  <a:lnTo>
                    <a:pt x="193" y="270"/>
                  </a:lnTo>
                  <a:lnTo>
                    <a:pt x="175" y="281"/>
                  </a:lnTo>
                  <a:lnTo>
                    <a:pt x="154" y="290"/>
                  </a:lnTo>
                  <a:lnTo>
                    <a:pt x="130" y="292"/>
                  </a:lnTo>
                  <a:lnTo>
                    <a:pt x="101" y="290"/>
                  </a:lnTo>
                  <a:lnTo>
                    <a:pt x="77" y="283"/>
                  </a:lnTo>
                  <a:lnTo>
                    <a:pt x="56" y="273"/>
                  </a:lnTo>
                  <a:lnTo>
                    <a:pt x="38" y="257"/>
                  </a:lnTo>
                  <a:lnTo>
                    <a:pt x="24" y="241"/>
                  </a:lnTo>
                  <a:lnTo>
                    <a:pt x="13" y="220"/>
                  </a:lnTo>
                  <a:lnTo>
                    <a:pt x="6" y="197"/>
                  </a:lnTo>
                  <a:lnTo>
                    <a:pt x="2" y="172"/>
                  </a:lnTo>
                  <a:lnTo>
                    <a:pt x="0" y="146"/>
                  </a:lnTo>
                  <a:lnTo>
                    <a:pt x="3" y="116"/>
                  </a:lnTo>
                  <a:lnTo>
                    <a:pt x="9" y="90"/>
                  </a:lnTo>
                  <a:lnTo>
                    <a:pt x="20" y="65"/>
                  </a:lnTo>
                  <a:lnTo>
                    <a:pt x="34" y="44"/>
                  </a:lnTo>
                  <a:lnTo>
                    <a:pt x="52" y="26"/>
                  </a:lnTo>
                  <a:lnTo>
                    <a:pt x="74" y="12"/>
                  </a:lnTo>
                  <a:lnTo>
                    <a:pt x="101" y="3"/>
                  </a:lnTo>
                  <a:lnTo>
                    <a:pt x="130" y="0"/>
                  </a:lnTo>
                  <a:lnTo>
                    <a:pt x="154" y="3"/>
                  </a:lnTo>
                  <a:lnTo>
                    <a:pt x="176" y="12"/>
                  </a:lnTo>
                  <a:lnTo>
                    <a:pt x="194" y="24"/>
                  </a:lnTo>
                  <a:lnTo>
                    <a:pt x="210" y="39"/>
                  </a:lnTo>
                  <a:lnTo>
                    <a:pt x="221" y="58"/>
                  </a:lnTo>
                  <a:lnTo>
                    <a:pt x="222" y="58"/>
                  </a:lnTo>
                  <a:lnTo>
                    <a:pt x="222" y="9"/>
                  </a:lnTo>
                  <a:lnTo>
                    <a:pt x="257" y="9"/>
                  </a:lnTo>
                  <a:lnTo>
                    <a:pt x="257" y="273"/>
                  </a:lnTo>
                  <a:close/>
                  <a:moveTo>
                    <a:pt x="222" y="150"/>
                  </a:moveTo>
                  <a:lnTo>
                    <a:pt x="221" y="129"/>
                  </a:lnTo>
                  <a:lnTo>
                    <a:pt x="217" y="107"/>
                  </a:lnTo>
                  <a:lnTo>
                    <a:pt x="211" y="87"/>
                  </a:lnTo>
                  <a:lnTo>
                    <a:pt x="201" y="69"/>
                  </a:lnTo>
                  <a:lnTo>
                    <a:pt x="189" y="52"/>
                  </a:lnTo>
                  <a:lnTo>
                    <a:pt x="172" y="41"/>
                  </a:lnTo>
                  <a:lnTo>
                    <a:pt x="152" y="32"/>
                  </a:lnTo>
                  <a:lnTo>
                    <a:pt x="130" y="30"/>
                  </a:lnTo>
                  <a:lnTo>
                    <a:pt x="106" y="32"/>
                  </a:lnTo>
                  <a:lnTo>
                    <a:pt x="87" y="39"/>
                  </a:lnTo>
                  <a:lnTo>
                    <a:pt x="70" y="52"/>
                  </a:lnTo>
                  <a:lnTo>
                    <a:pt x="57" y="67"/>
                  </a:lnTo>
                  <a:lnTo>
                    <a:pt x="48" y="86"/>
                  </a:lnTo>
                  <a:lnTo>
                    <a:pt x="41" y="105"/>
                  </a:lnTo>
                  <a:lnTo>
                    <a:pt x="37" y="127"/>
                  </a:lnTo>
                  <a:lnTo>
                    <a:pt x="35" y="150"/>
                  </a:lnTo>
                  <a:lnTo>
                    <a:pt x="37" y="171"/>
                  </a:lnTo>
                  <a:lnTo>
                    <a:pt x="41" y="192"/>
                  </a:lnTo>
                  <a:lnTo>
                    <a:pt x="48" y="211"/>
                  </a:lnTo>
                  <a:lnTo>
                    <a:pt x="57" y="228"/>
                  </a:lnTo>
                  <a:lnTo>
                    <a:pt x="71" y="242"/>
                  </a:lnTo>
                  <a:lnTo>
                    <a:pt x="88" y="253"/>
                  </a:lnTo>
                  <a:lnTo>
                    <a:pt x="108" y="260"/>
                  </a:lnTo>
                  <a:lnTo>
                    <a:pt x="130" y="263"/>
                  </a:lnTo>
                  <a:lnTo>
                    <a:pt x="154" y="260"/>
                  </a:lnTo>
                  <a:lnTo>
                    <a:pt x="175" y="250"/>
                  </a:lnTo>
                  <a:lnTo>
                    <a:pt x="192" y="236"/>
                  </a:lnTo>
                  <a:lnTo>
                    <a:pt x="206" y="218"/>
                  </a:lnTo>
                  <a:lnTo>
                    <a:pt x="214" y="197"/>
                  </a:lnTo>
                  <a:lnTo>
                    <a:pt x="221" y="174"/>
                  </a:lnTo>
                  <a:lnTo>
                    <a:pt x="222" y="15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</p:grpSp>
      <p:sp>
        <p:nvSpPr>
          <p:cNvPr id="55" name="TextBox 54"/>
          <p:cNvSpPr txBox="1"/>
          <p:nvPr/>
        </p:nvSpPr>
        <p:spPr>
          <a:xfrm>
            <a:off x="229852" y="6557123"/>
            <a:ext cx="1487488" cy="298800"/>
          </a:xfrm>
          <a:prstGeom prst="rect">
            <a:avLst/>
          </a:prstGeom>
          <a:noFill/>
        </p:spPr>
        <p:txBody>
          <a:bodyPr wrap="none" lIns="36000" tIns="36000" rIns="36000" bIns="36000" rtlCol="0" anchor="ctr">
            <a:noAutofit/>
          </a:bodyPr>
          <a:lstStyle/>
          <a:p>
            <a:pPr algn="l"/>
            <a:r>
              <a:rPr lang="en-AU" sz="700" b="0" cap="all" baseline="0" dirty="0">
                <a:solidFill>
                  <a:schemeClr val="bg1"/>
                </a:solidFill>
              </a:rPr>
              <a:t>STRICTLY CONFIDENTIAL</a:t>
            </a:r>
          </a:p>
        </p:txBody>
      </p:sp>
      <p:grpSp>
        <p:nvGrpSpPr>
          <p:cNvPr id="56" name="Group 55"/>
          <p:cNvGrpSpPr/>
          <p:nvPr userDrawn="1"/>
        </p:nvGrpSpPr>
        <p:grpSpPr>
          <a:xfrm>
            <a:off x="10754208" y="6654523"/>
            <a:ext cx="1148500" cy="104000"/>
            <a:chOff x="8756844" y="6671575"/>
            <a:chExt cx="933156" cy="104000"/>
          </a:xfrm>
        </p:grpSpPr>
        <p:sp>
          <p:nvSpPr>
            <p:cNvPr id="57" name="Freeform 9"/>
            <p:cNvSpPr>
              <a:spLocks/>
            </p:cNvSpPr>
            <p:nvPr/>
          </p:nvSpPr>
          <p:spPr bwMode="auto">
            <a:xfrm>
              <a:off x="8756844" y="6692294"/>
              <a:ext cx="43875" cy="601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17" y="0"/>
                </a:cxn>
                <a:cxn ang="0">
                  <a:pos x="217" y="61"/>
                </a:cxn>
                <a:cxn ang="0">
                  <a:pos x="77" y="61"/>
                </a:cxn>
                <a:cxn ang="0">
                  <a:pos x="77" y="121"/>
                </a:cxn>
                <a:cxn ang="0">
                  <a:pos x="199" y="121"/>
                </a:cxn>
                <a:cxn ang="0">
                  <a:pos x="199" y="181"/>
                </a:cxn>
                <a:cxn ang="0">
                  <a:pos x="77" y="181"/>
                </a:cxn>
                <a:cxn ang="0">
                  <a:pos x="77" y="294"/>
                </a:cxn>
                <a:cxn ang="0">
                  <a:pos x="0" y="294"/>
                </a:cxn>
                <a:cxn ang="0">
                  <a:pos x="0" y="0"/>
                </a:cxn>
              </a:cxnLst>
              <a:rect l="0" t="0" r="r" b="b"/>
              <a:pathLst>
                <a:path w="217" h="294">
                  <a:moveTo>
                    <a:pt x="0" y="0"/>
                  </a:moveTo>
                  <a:lnTo>
                    <a:pt x="217" y="0"/>
                  </a:lnTo>
                  <a:lnTo>
                    <a:pt x="217" y="61"/>
                  </a:lnTo>
                  <a:lnTo>
                    <a:pt x="77" y="61"/>
                  </a:lnTo>
                  <a:lnTo>
                    <a:pt x="77" y="121"/>
                  </a:lnTo>
                  <a:lnTo>
                    <a:pt x="199" y="121"/>
                  </a:lnTo>
                  <a:lnTo>
                    <a:pt x="199" y="181"/>
                  </a:lnTo>
                  <a:lnTo>
                    <a:pt x="77" y="181"/>
                  </a:lnTo>
                  <a:lnTo>
                    <a:pt x="77" y="294"/>
                  </a:lnTo>
                  <a:lnTo>
                    <a:pt x="0" y="2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58" name="Freeform 10"/>
            <p:cNvSpPr>
              <a:spLocks noEditPoints="1"/>
            </p:cNvSpPr>
            <p:nvPr/>
          </p:nvSpPr>
          <p:spPr bwMode="auto">
            <a:xfrm>
              <a:off x="8809250" y="6691482"/>
              <a:ext cx="58906" cy="62156"/>
            </a:xfrm>
            <a:custGeom>
              <a:avLst/>
              <a:gdLst/>
              <a:ahLst/>
              <a:cxnLst>
                <a:cxn ang="0">
                  <a:pos x="145" y="0"/>
                </a:cxn>
                <a:cxn ang="0">
                  <a:pos x="179" y="3"/>
                </a:cxn>
                <a:cxn ang="0">
                  <a:pos x="208" y="13"/>
                </a:cxn>
                <a:cxn ang="0">
                  <a:pos x="232" y="27"/>
                </a:cxn>
                <a:cxn ang="0">
                  <a:pos x="253" y="45"/>
                </a:cxn>
                <a:cxn ang="0">
                  <a:pos x="270" y="67"/>
                </a:cxn>
                <a:cxn ang="0">
                  <a:pos x="281" y="94"/>
                </a:cxn>
                <a:cxn ang="0">
                  <a:pos x="288" y="123"/>
                </a:cxn>
                <a:cxn ang="0">
                  <a:pos x="291" y="154"/>
                </a:cxn>
                <a:cxn ang="0">
                  <a:pos x="288" y="185"/>
                </a:cxn>
                <a:cxn ang="0">
                  <a:pos x="281" y="214"/>
                </a:cxn>
                <a:cxn ang="0">
                  <a:pos x="270" y="239"/>
                </a:cxn>
                <a:cxn ang="0">
                  <a:pos x="253" y="261"/>
                </a:cxn>
                <a:cxn ang="0">
                  <a:pos x="232" y="281"/>
                </a:cxn>
                <a:cxn ang="0">
                  <a:pos x="208" y="295"/>
                </a:cxn>
                <a:cxn ang="0">
                  <a:pos x="179" y="303"/>
                </a:cxn>
                <a:cxn ang="0">
                  <a:pos x="145" y="306"/>
                </a:cxn>
                <a:cxn ang="0">
                  <a:pos x="113" y="303"/>
                </a:cxn>
                <a:cxn ang="0">
                  <a:pos x="84" y="295"/>
                </a:cxn>
                <a:cxn ang="0">
                  <a:pos x="59" y="281"/>
                </a:cxn>
                <a:cxn ang="0">
                  <a:pos x="38" y="261"/>
                </a:cxn>
                <a:cxn ang="0">
                  <a:pos x="23" y="239"/>
                </a:cxn>
                <a:cxn ang="0">
                  <a:pos x="10" y="214"/>
                </a:cxn>
                <a:cxn ang="0">
                  <a:pos x="3" y="185"/>
                </a:cxn>
                <a:cxn ang="0">
                  <a:pos x="0" y="154"/>
                </a:cxn>
                <a:cxn ang="0">
                  <a:pos x="3" y="123"/>
                </a:cxn>
                <a:cxn ang="0">
                  <a:pos x="10" y="94"/>
                </a:cxn>
                <a:cxn ang="0">
                  <a:pos x="23" y="67"/>
                </a:cxn>
                <a:cxn ang="0">
                  <a:pos x="38" y="45"/>
                </a:cxn>
                <a:cxn ang="0">
                  <a:pos x="59" y="27"/>
                </a:cxn>
                <a:cxn ang="0">
                  <a:pos x="84" y="13"/>
                </a:cxn>
                <a:cxn ang="0">
                  <a:pos x="113" y="3"/>
                </a:cxn>
                <a:cxn ang="0">
                  <a:pos x="145" y="0"/>
                </a:cxn>
                <a:cxn ang="0">
                  <a:pos x="145" y="240"/>
                </a:cxn>
                <a:cxn ang="0">
                  <a:pos x="165" y="238"/>
                </a:cxn>
                <a:cxn ang="0">
                  <a:pos x="180" y="231"/>
                </a:cxn>
                <a:cxn ang="0">
                  <a:pos x="193" y="219"/>
                </a:cxn>
                <a:cxn ang="0">
                  <a:pos x="203" y="206"/>
                </a:cxn>
                <a:cxn ang="0">
                  <a:pos x="210" y="190"/>
                </a:cxn>
                <a:cxn ang="0">
                  <a:pos x="213" y="172"/>
                </a:cxn>
                <a:cxn ang="0">
                  <a:pos x="214" y="154"/>
                </a:cxn>
                <a:cxn ang="0">
                  <a:pos x="213" y="134"/>
                </a:cxn>
                <a:cxn ang="0">
                  <a:pos x="210" y="118"/>
                </a:cxn>
                <a:cxn ang="0">
                  <a:pos x="203" y="101"/>
                </a:cxn>
                <a:cxn ang="0">
                  <a:pos x="193" y="87"/>
                </a:cxn>
                <a:cxn ang="0">
                  <a:pos x="180" y="76"/>
                </a:cxn>
                <a:cxn ang="0">
                  <a:pos x="165" y="69"/>
                </a:cxn>
                <a:cxn ang="0">
                  <a:pos x="145" y="66"/>
                </a:cxn>
                <a:cxn ang="0">
                  <a:pos x="126" y="69"/>
                </a:cxn>
                <a:cxn ang="0">
                  <a:pos x="111" y="76"/>
                </a:cxn>
                <a:cxn ang="0">
                  <a:pos x="98" y="87"/>
                </a:cxn>
                <a:cxn ang="0">
                  <a:pos x="88" y="101"/>
                </a:cxn>
                <a:cxn ang="0">
                  <a:pos x="83" y="118"/>
                </a:cxn>
                <a:cxn ang="0">
                  <a:pos x="78" y="134"/>
                </a:cxn>
                <a:cxn ang="0">
                  <a:pos x="77" y="154"/>
                </a:cxn>
                <a:cxn ang="0">
                  <a:pos x="78" y="172"/>
                </a:cxn>
                <a:cxn ang="0">
                  <a:pos x="83" y="190"/>
                </a:cxn>
                <a:cxn ang="0">
                  <a:pos x="88" y="206"/>
                </a:cxn>
                <a:cxn ang="0">
                  <a:pos x="98" y="219"/>
                </a:cxn>
                <a:cxn ang="0">
                  <a:pos x="111" y="231"/>
                </a:cxn>
                <a:cxn ang="0">
                  <a:pos x="126" y="238"/>
                </a:cxn>
                <a:cxn ang="0">
                  <a:pos x="145" y="240"/>
                </a:cxn>
              </a:cxnLst>
              <a:rect l="0" t="0" r="r" b="b"/>
              <a:pathLst>
                <a:path w="291" h="306">
                  <a:moveTo>
                    <a:pt x="145" y="0"/>
                  </a:moveTo>
                  <a:lnTo>
                    <a:pt x="179" y="3"/>
                  </a:lnTo>
                  <a:lnTo>
                    <a:pt x="208" y="13"/>
                  </a:lnTo>
                  <a:lnTo>
                    <a:pt x="232" y="27"/>
                  </a:lnTo>
                  <a:lnTo>
                    <a:pt x="253" y="45"/>
                  </a:lnTo>
                  <a:lnTo>
                    <a:pt x="270" y="67"/>
                  </a:lnTo>
                  <a:lnTo>
                    <a:pt x="281" y="94"/>
                  </a:lnTo>
                  <a:lnTo>
                    <a:pt x="288" y="123"/>
                  </a:lnTo>
                  <a:lnTo>
                    <a:pt x="291" y="154"/>
                  </a:lnTo>
                  <a:lnTo>
                    <a:pt x="288" y="185"/>
                  </a:lnTo>
                  <a:lnTo>
                    <a:pt x="281" y="214"/>
                  </a:lnTo>
                  <a:lnTo>
                    <a:pt x="270" y="239"/>
                  </a:lnTo>
                  <a:lnTo>
                    <a:pt x="253" y="261"/>
                  </a:lnTo>
                  <a:lnTo>
                    <a:pt x="232" y="281"/>
                  </a:lnTo>
                  <a:lnTo>
                    <a:pt x="208" y="295"/>
                  </a:lnTo>
                  <a:lnTo>
                    <a:pt x="179" y="303"/>
                  </a:lnTo>
                  <a:lnTo>
                    <a:pt x="145" y="306"/>
                  </a:lnTo>
                  <a:lnTo>
                    <a:pt x="113" y="303"/>
                  </a:lnTo>
                  <a:lnTo>
                    <a:pt x="84" y="295"/>
                  </a:lnTo>
                  <a:lnTo>
                    <a:pt x="59" y="281"/>
                  </a:lnTo>
                  <a:lnTo>
                    <a:pt x="38" y="261"/>
                  </a:lnTo>
                  <a:lnTo>
                    <a:pt x="23" y="239"/>
                  </a:lnTo>
                  <a:lnTo>
                    <a:pt x="10" y="214"/>
                  </a:lnTo>
                  <a:lnTo>
                    <a:pt x="3" y="185"/>
                  </a:lnTo>
                  <a:lnTo>
                    <a:pt x="0" y="154"/>
                  </a:lnTo>
                  <a:lnTo>
                    <a:pt x="3" y="123"/>
                  </a:lnTo>
                  <a:lnTo>
                    <a:pt x="10" y="94"/>
                  </a:lnTo>
                  <a:lnTo>
                    <a:pt x="23" y="67"/>
                  </a:lnTo>
                  <a:lnTo>
                    <a:pt x="38" y="45"/>
                  </a:lnTo>
                  <a:lnTo>
                    <a:pt x="59" y="27"/>
                  </a:lnTo>
                  <a:lnTo>
                    <a:pt x="84" y="13"/>
                  </a:lnTo>
                  <a:lnTo>
                    <a:pt x="113" y="3"/>
                  </a:lnTo>
                  <a:lnTo>
                    <a:pt x="145" y="0"/>
                  </a:lnTo>
                  <a:close/>
                  <a:moveTo>
                    <a:pt x="145" y="240"/>
                  </a:moveTo>
                  <a:lnTo>
                    <a:pt x="165" y="238"/>
                  </a:lnTo>
                  <a:lnTo>
                    <a:pt x="180" y="231"/>
                  </a:lnTo>
                  <a:lnTo>
                    <a:pt x="193" y="219"/>
                  </a:lnTo>
                  <a:lnTo>
                    <a:pt x="203" y="206"/>
                  </a:lnTo>
                  <a:lnTo>
                    <a:pt x="210" y="190"/>
                  </a:lnTo>
                  <a:lnTo>
                    <a:pt x="213" y="172"/>
                  </a:lnTo>
                  <a:lnTo>
                    <a:pt x="214" y="154"/>
                  </a:lnTo>
                  <a:lnTo>
                    <a:pt x="213" y="134"/>
                  </a:lnTo>
                  <a:lnTo>
                    <a:pt x="210" y="118"/>
                  </a:lnTo>
                  <a:lnTo>
                    <a:pt x="203" y="101"/>
                  </a:lnTo>
                  <a:lnTo>
                    <a:pt x="193" y="87"/>
                  </a:lnTo>
                  <a:lnTo>
                    <a:pt x="180" y="76"/>
                  </a:lnTo>
                  <a:lnTo>
                    <a:pt x="165" y="69"/>
                  </a:lnTo>
                  <a:lnTo>
                    <a:pt x="145" y="66"/>
                  </a:lnTo>
                  <a:lnTo>
                    <a:pt x="126" y="69"/>
                  </a:lnTo>
                  <a:lnTo>
                    <a:pt x="111" y="76"/>
                  </a:lnTo>
                  <a:lnTo>
                    <a:pt x="98" y="87"/>
                  </a:lnTo>
                  <a:lnTo>
                    <a:pt x="88" y="101"/>
                  </a:lnTo>
                  <a:lnTo>
                    <a:pt x="83" y="118"/>
                  </a:lnTo>
                  <a:lnTo>
                    <a:pt x="78" y="134"/>
                  </a:lnTo>
                  <a:lnTo>
                    <a:pt x="77" y="154"/>
                  </a:lnTo>
                  <a:lnTo>
                    <a:pt x="78" y="172"/>
                  </a:lnTo>
                  <a:lnTo>
                    <a:pt x="83" y="190"/>
                  </a:lnTo>
                  <a:lnTo>
                    <a:pt x="88" y="206"/>
                  </a:lnTo>
                  <a:lnTo>
                    <a:pt x="98" y="219"/>
                  </a:lnTo>
                  <a:lnTo>
                    <a:pt x="111" y="231"/>
                  </a:lnTo>
                  <a:lnTo>
                    <a:pt x="126" y="238"/>
                  </a:lnTo>
                  <a:lnTo>
                    <a:pt x="145" y="24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59" name="Freeform 11"/>
            <p:cNvSpPr>
              <a:spLocks noEditPoints="1"/>
            </p:cNvSpPr>
            <p:nvPr/>
          </p:nvSpPr>
          <p:spPr bwMode="auto">
            <a:xfrm>
              <a:off x="8879937" y="6692294"/>
              <a:ext cx="53219" cy="601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0" y="0"/>
                </a:cxn>
                <a:cxn ang="0">
                  <a:pos x="172" y="1"/>
                </a:cxn>
                <a:cxn ang="0">
                  <a:pos x="193" y="5"/>
                </a:cxn>
                <a:cxn ang="0">
                  <a:pos x="213" y="14"/>
                </a:cxn>
                <a:cxn ang="0">
                  <a:pos x="229" y="25"/>
                </a:cxn>
                <a:cxn ang="0">
                  <a:pos x="242" y="40"/>
                </a:cxn>
                <a:cxn ang="0">
                  <a:pos x="250" y="60"/>
                </a:cxn>
                <a:cxn ang="0">
                  <a:pos x="253" y="84"/>
                </a:cxn>
                <a:cxn ang="0">
                  <a:pos x="252" y="102"/>
                </a:cxn>
                <a:cxn ang="0">
                  <a:pos x="246" y="120"/>
                </a:cxn>
                <a:cxn ang="0">
                  <a:pos x="236" y="135"/>
                </a:cxn>
                <a:cxn ang="0">
                  <a:pos x="224" y="148"/>
                </a:cxn>
                <a:cxn ang="0">
                  <a:pos x="207" y="156"/>
                </a:cxn>
                <a:cxn ang="0">
                  <a:pos x="207" y="158"/>
                </a:cxn>
                <a:cxn ang="0">
                  <a:pos x="221" y="163"/>
                </a:cxn>
                <a:cxn ang="0">
                  <a:pos x="231" y="173"/>
                </a:cxn>
                <a:cxn ang="0">
                  <a:pos x="239" y="184"/>
                </a:cxn>
                <a:cxn ang="0">
                  <a:pos x="245" y="198"/>
                </a:cxn>
                <a:cxn ang="0">
                  <a:pos x="248" y="213"/>
                </a:cxn>
                <a:cxn ang="0">
                  <a:pos x="249" y="227"/>
                </a:cxn>
                <a:cxn ang="0">
                  <a:pos x="250" y="239"/>
                </a:cxn>
                <a:cxn ang="0">
                  <a:pos x="252" y="253"/>
                </a:cxn>
                <a:cxn ang="0">
                  <a:pos x="253" y="269"/>
                </a:cxn>
                <a:cxn ang="0">
                  <a:pos x="256" y="285"/>
                </a:cxn>
                <a:cxn ang="0">
                  <a:pos x="262" y="294"/>
                </a:cxn>
                <a:cxn ang="0">
                  <a:pos x="186" y="294"/>
                </a:cxn>
                <a:cxn ang="0">
                  <a:pos x="182" y="285"/>
                </a:cxn>
                <a:cxn ang="0">
                  <a:pos x="179" y="271"/>
                </a:cxn>
                <a:cxn ang="0">
                  <a:pos x="178" y="257"/>
                </a:cxn>
                <a:cxn ang="0">
                  <a:pos x="178" y="247"/>
                </a:cxn>
                <a:cxn ang="0">
                  <a:pos x="176" y="233"/>
                </a:cxn>
                <a:cxn ang="0">
                  <a:pos x="174" y="219"/>
                </a:cxn>
                <a:cxn ang="0">
                  <a:pos x="168" y="206"/>
                </a:cxn>
                <a:cxn ang="0">
                  <a:pos x="161" y="195"/>
                </a:cxn>
                <a:cxn ang="0">
                  <a:pos x="150" y="190"/>
                </a:cxn>
                <a:cxn ang="0">
                  <a:pos x="134" y="187"/>
                </a:cxn>
                <a:cxn ang="0">
                  <a:pos x="76" y="187"/>
                </a:cxn>
                <a:cxn ang="0">
                  <a:pos x="76" y="294"/>
                </a:cxn>
                <a:cxn ang="0">
                  <a:pos x="0" y="294"/>
                </a:cxn>
                <a:cxn ang="0">
                  <a:pos x="0" y="0"/>
                </a:cxn>
                <a:cxn ang="0">
                  <a:pos x="76" y="128"/>
                </a:cxn>
                <a:cxn ang="0">
                  <a:pos x="141" y="128"/>
                </a:cxn>
                <a:cxn ang="0">
                  <a:pos x="157" y="125"/>
                </a:cxn>
                <a:cxn ang="0">
                  <a:pos x="167" y="118"/>
                </a:cxn>
                <a:cxn ang="0">
                  <a:pos x="174" y="109"/>
                </a:cxn>
                <a:cxn ang="0">
                  <a:pos x="176" y="93"/>
                </a:cxn>
                <a:cxn ang="0">
                  <a:pos x="175" y="81"/>
                </a:cxn>
                <a:cxn ang="0">
                  <a:pos x="168" y="72"/>
                </a:cxn>
                <a:cxn ang="0">
                  <a:pos x="160" y="65"/>
                </a:cxn>
                <a:cxn ang="0">
                  <a:pos x="150" y="63"/>
                </a:cxn>
                <a:cxn ang="0">
                  <a:pos x="137" y="61"/>
                </a:cxn>
                <a:cxn ang="0">
                  <a:pos x="76" y="61"/>
                </a:cxn>
                <a:cxn ang="0">
                  <a:pos x="76" y="128"/>
                </a:cxn>
              </a:cxnLst>
              <a:rect l="0" t="0" r="r" b="b"/>
              <a:pathLst>
                <a:path w="262" h="294">
                  <a:moveTo>
                    <a:pt x="0" y="0"/>
                  </a:moveTo>
                  <a:lnTo>
                    <a:pt x="150" y="0"/>
                  </a:lnTo>
                  <a:lnTo>
                    <a:pt x="172" y="1"/>
                  </a:lnTo>
                  <a:lnTo>
                    <a:pt x="193" y="5"/>
                  </a:lnTo>
                  <a:lnTo>
                    <a:pt x="213" y="14"/>
                  </a:lnTo>
                  <a:lnTo>
                    <a:pt x="229" y="25"/>
                  </a:lnTo>
                  <a:lnTo>
                    <a:pt x="242" y="40"/>
                  </a:lnTo>
                  <a:lnTo>
                    <a:pt x="250" y="60"/>
                  </a:lnTo>
                  <a:lnTo>
                    <a:pt x="253" y="84"/>
                  </a:lnTo>
                  <a:lnTo>
                    <a:pt x="252" y="102"/>
                  </a:lnTo>
                  <a:lnTo>
                    <a:pt x="246" y="120"/>
                  </a:lnTo>
                  <a:lnTo>
                    <a:pt x="236" y="135"/>
                  </a:lnTo>
                  <a:lnTo>
                    <a:pt x="224" y="148"/>
                  </a:lnTo>
                  <a:lnTo>
                    <a:pt x="207" y="156"/>
                  </a:lnTo>
                  <a:lnTo>
                    <a:pt x="207" y="158"/>
                  </a:lnTo>
                  <a:lnTo>
                    <a:pt x="221" y="163"/>
                  </a:lnTo>
                  <a:lnTo>
                    <a:pt x="231" y="173"/>
                  </a:lnTo>
                  <a:lnTo>
                    <a:pt x="239" y="184"/>
                  </a:lnTo>
                  <a:lnTo>
                    <a:pt x="245" y="198"/>
                  </a:lnTo>
                  <a:lnTo>
                    <a:pt x="248" y="213"/>
                  </a:lnTo>
                  <a:lnTo>
                    <a:pt x="249" y="227"/>
                  </a:lnTo>
                  <a:lnTo>
                    <a:pt x="250" y="239"/>
                  </a:lnTo>
                  <a:lnTo>
                    <a:pt x="252" y="253"/>
                  </a:lnTo>
                  <a:lnTo>
                    <a:pt x="253" y="269"/>
                  </a:lnTo>
                  <a:lnTo>
                    <a:pt x="256" y="285"/>
                  </a:lnTo>
                  <a:lnTo>
                    <a:pt x="262" y="294"/>
                  </a:lnTo>
                  <a:lnTo>
                    <a:pt x="186" y="294"/>
                  </a:lnTo>
                  <a:lnTo>
                    <a:pt x="182" y="285"/>
                  </a:lnTo>
                  <a:lnTo>
                    <a:pt x="179" y="271"/>
                  </a:lnTo>
                  <a:lnTo>
                    <a:pt x="178" y="257"/>
                  </a:lnTo>
                  <a:lnTo>
                    <a:pt x="178" y="247"/>
                  </a:lnTo>
                  <a:lnTo>
                    <a:pt x="176" y="233"/>
                  </a:lnTo>
                  <a:lnTo>
                    <a:pt x="174" y="219"/>
                  </a:lnTo>
                  <a:lnTo>
                    <a:pt x="168" y="206"/>
                  </a:lnTo>
                  <a:lnTo>
                    <a:pt x="161" y="195"/>
                  </a:lnTo>
                  <a:lnTo>
                    <a:pt x="150" y="190"/>
                  </a:lnTo>
                  <a:lnTo>
                    <a:pt x="134" y="187"/>
                  </a:lnTo>
                  <a:lnTo>
                    <a:pt x="76" y="187"/>
                  </a:lnTo>
                  <a:lnTo>
                    <a:pt x="76" y="294"/>
                  </a:lnTo>
                  <a:lnTo>
                    <a:pt x="0" y="294"/>
                  </a:lnTo>
                  <a:lnTo>
                    <a:pt x="0" y="0"/>
                  </a:lnTo>
                  <a:close/>
                  <a:moveTo>
                    <a:pt x="76" y="128"/>
                  </a:moveTo>
                  <a:lnTo>
                    <a:pt x="141" y="128"/>
                  </a:lnTo>
                  <a:lnTo>
                    <a:pt x="157" y="125"/>
                  </a:lnTo>
                  <a:lnTo>
                    <a:pt x="167" y="118"/>
                  </a:lnTo>
                  <a:lnTo>
                    <a:pt x="174" y="109"/>
                  </a:lnTo>
                  <a:lnTo>
                    <a:pt x="176" y="93"/>
                  </a:lnTo>
                  <a:lnTo>
                    <a:pt x="175" y="81"/>
                  </a:lnTo>
                  <a:lnTo>
                    <a:pt x="168" y="72"/>
                  </a:lnTo>
                  <a:lnTo>
                    <a:pt x="160" y="65"/>
                  </a:lnTo>
                  <a:lnTo>
                    <a:pt x="150" y="63"/>
                  </a:lnTo>
                  <a:lnTo>
                    <a:pt x="137" y="61"/>
                  </a:lnTo>
                  <a:lnTo>
                    <a:pt x="76" y="61"/>
                  </a:lnTo>
                  <a:lnTo>
                    <a:pt x="76" y="128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60" name="Freeform 12"/>
            <p:cNvSpPr>
              <a:spLocks/>
            </p:cNvSpPr>
            <p:nvPr/>
          </p:nvSpPr>
          <p:spPr bwMode="auto">
            <a:xfrm>
              <a:off x="8936812" y="6692294"/>
              <a:ext cx="80438" cy="60125"/>
            </a:xfrm>
            <a:custGeom>
              <a:avLst/>
              <a:gdLst/>
              <a:ahLst/>
              <a:cxnLst>
                <a:cxn ang="0">
                  <a:pos x="315" y="294"/>
                </a:cxn>
                <a:cxn ang="0">
                  <a:pos x="239" y="294"/>
                </a:cxn>
                <a:cxn ang="0">
                  <a:pos x="198" y="92"/>
                </a:cxn>
                <a:cxn ang="0">
                  <a:pos x="158" y="294"/>
                </a:cxn>
                <a:cxn ang="0">
                  <a:pos x="79" y="294"/>
                </a:cxn>
                <a:cxn ang="0">
                  <a:pos x="0" y="0"/>
                </a:cxn>
                <a:cxn ang="0">
                  <a:pos x="77" y="0"/>
                </a:cxn>
                <a:cxn ang="0">
                  <a:pos x="118" y="215"/>
                </a:cxn>
                <a:cxn ang="0">
                  <a:pos x="162" y="0"/>
                </a:cxn>
                <a:cxn ang="0">
                  <a:pos x="234" y="0"/>
                </a:cxn>
                <a:cxn ang="0">
                  <a:pos x="278" y="215"/>
                </a:cxn>
                <a:cxn ang="0">
                  <a:pos x="279" y="215"/>
                </a:cxn>
                <a:cxn ang="0">
                  <a:pos x="320" y="0"/>
                </a:cxn>
                <a:cxn ang="0">
                  <a:pos x="396" y="0"/>
                </a:cxn>
                <a:cxn ang="0">
                  <a:pos x="315" y="294"/>
                </a:cxn>
              </a:cxnLst>
              <a:rect l="0" t="0" r="r" b="b"/>
              <a:pathLst>
                <a:path w="396" h="294">
                  <a:moveTo>
                    <a:pt x="315" y="294"/>
                  </a:moveTo>
                  <a:lnTo>
                    <a:pt x="239" y="294"/>
                  </a:lnTo>
                  <a:lnTo>
                    <a:pt x="198" y="92"/>
                  </a:lnTo>
                  <a:lnTo>
                    <a:pt x="158" y="294"/>
                  </a:lnTo>
                  <a:lnTo>
                    <a:pt x="79" y="294"/>
                  </a:lnTo>
                  <a:lnTo>
                    <a:pt x="0" y="0"/>
                  </a:lnTo>
                  <a:lnTo>
                    <a:pt x="77" y="0"/>
                  </a:lnTo>
                  <a:lnTo>
                    <a:pt x="118" y="215"/>
                  </a:lnTo>
                  <a:lnTo>
                    <a:pt x="162" y="0"/>
                  </a:lnTo>
                  <a:lnTo>
                    <a:pt x="234" y="0"/>
                  </a:lnTo>
                  <a:lnTo>
                    <a:pt x="278" y="215"/>
                  </a:lnTo>
                  <a:lnTo>
                    <a:pt x="279" y="215"/>
                  </a:lnTo>
                  <a:lnTo>
                    <a:pt x="320" y="0"/>
                  </a:lnTo>
                  <a:lnTo>
                    <a:pt x="396" y="0"/>
                  </a:lnTo>
                  <a:lnTo>
                    <a:pt x="315" y="294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61" name="Freeform 13"/>
            <p:cNvSpPr>
              <a:spLocks noEditPoints="1"/>
            </p:cNvSpPr>
            <p:nvPr/>
          </p:nvSpPr>
          <p:spPr bwMode="auto">
            <a:xfrm>
              <a:off x="9017250" y="6692294"/>
              <a:ext cx="60125" cy="60125"/>
            </a:xfrm>
            <a:custGeom>
              <a:avLst/>
              <a:gdLst/>
              <a:ahLst/>
              <a:cxnLst>
                <a:cxn ang="0">
                  <a:pos x="109" y="0"/>
                </a:cxn>
                <a:cxn ang="0">
                  <a:pos x="187" y="0"/>
                </a:cxn>
                <a:cxn ang="0">
                  <a:pos x="298" y="294"/>
                </a:cxn>
                <a:cxn ang="0">
                  <a:pos x="217" y="294"/>
                </a:cxn>
                <a:cxn ang="0">
                  <a:pos x="200" y="241"/>
                </a:cxn>
                <a:cxn ang="0">
                  <a:pos x="96" y="241"/>
                </a:cxn>
                <a:cxn ang="0">
                  <a:pos x="78" y="294"/>
                </a:cxn>
                <a:cxn ang="0">
                  <a:pos x="0" y="294"/>
                </a:cxn>
                <a:cxn ang="0">
                  <a:pos x="109" y="0"/>
                </a:cxn>
                <a:cxn ang="0">
                  <a:pos x="115" y="184"/>
                </a:cxn>
                <a:cxn ang="0">
                  <a:pos x="182" y="184"/>
                </a:cxn>
                <a:cxn ang="0">
                  <a:pos x="148" y="82"/>
                </a:cxn>
                <a:cxn ang="0">
                  <a:pos x="115" y="184"/>
                </a:cxn>
              </a:cxnLst>
              <a:rect l="0" t="0" r="r" b="b"/>
              <a:pathLst>
                <a:path w="298" h="294">
                  <a:moveTo>
                    <a:pt x="109" y="0"/>
                  </a:moveTo>
                  <a:lnTo>
                    <a:pt x="187" y="0"/>
                  </a:lnTo>
                  <a:lnTo>
                    <a:pt x="298" y="294"/>
                  </a:lnTo>
                  <a:lnTo>
                    <a:pt x="217" y="294"/>
                  </a:lnTo>
                  <a:lnTo>
                    <a:pt x="200" y="241"/>
                  </a:lnTo>
                  <a:lnTo>
                    <a:pt x="96" y="241"/>
                  </a:lnTo>
                  <a:lnTo>
                    <a:pt x="78" y="294"/>
                  </a:lnTo>
                  <a:lnTo>
                    <a:pt x="0" y="294"/>
                  </a:lnTo>
                  <a:lnTo>
                    <a:pt x="109" y="0"/>
                  </a:lnTo>
                  <a:close/>
                  <a:moveTo>
                    <a:pt x="115" y="184"/>
                  </a:moveTo>
                  <a:lnTo>
                    <a:pt x="182" y="184"/>
                  </a:lnTo>
                  <a:lnTo>
                    <a:pt x="148" y="82"/>
                  </a:lnTo>
                  <a:lnTo>
                    <a:pt x="115" y="184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62" name="Freeform 14"/>
            <p:cNvSpPr>
              <a:spLocks noEditPoints="1"/>
            </p:cNvSpPr>
            <p:nvPr/>
          </p:nvSpPr>
          <p:spPr bwMode="auto">
            <a:xfrm>
              <a:off x="9085094" y="6692294"/>
              <a:ext cx="53219" cy="601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1" y="0"/>
                </a:cxn>
                <a:cxn ang="0">
                  <a:pos x="173" y="1"/>
                </a:cxn>
                <a:cxn ang="0">
                  <a:pos x="194" y="5"/>
                </a:cxn>
                <a:cxn ang="0">
                  <a:pos x="214" y="14"/>
                </a:cxn>
                <a:cxn ang="0">
                  <a:pos x="231" y="25"/>
                </a:cxn>
                <a:cxn ang="0">
                  <a:pos x="243" y="40"/>
                </a:cxn>
                <a:cxn ang="0">
                  <a:pos x="252" y="60"/>
                </a:cxn>
                <a:cxn ang="0">
                  <a:pos x="254" y="84"/>
                </a:cxn>
                <a:cxn ang="0">
                  <a:pos x="253" y="102"/>
                </a:cxn>
                <a:cxn ang="0">
                  <a:pos x="248" y="120"/>
                </a:cxn>
                <a:cxn ang="0">
                  <a:pos x="238" y="135"/>
                </a:cxn>
                <a:cxn ang="0">
                  <a:pos x="224" y="148"/>
                </a:cxn>
                <a:cxn ang="0">
                  <a:pos x="207" y="156"/>
                </a:cxn>
                <a:cxn ang="0">
                  <a:pos x="207" y="158"/>
                </a:cxn>
                <a:cxn ang="0">
                  <a:pos x="221" y="163"/>
                </a:cxn>
                <a:cxn ang="0">
                  <a:pos x="232" y="173"/>
                </a:cxn>
                <a:cxn ang="0">
                  <a:pos x="239" y="184"/>
                </a:cxn>
                <a:cxn ang="0">
                  <a:pos x="245" y="198"/>
                </a:cxn>
                <a:cxn ang="0">
                  <a:pos x="249" y="213"/>
                </a:cxn>
                <a:cxn ang="0">
                  <a:pos x="250" y="227"/>
                </a:cxn>
                <a:cxn ang="0">
                  <a:pos x="252" y="239"/>
                </a:cxn>
                <a:cxn ang="0">
                  <a:pos x="253" y="253"/>
                </a:cxn>
                <a:cxn ang="0">
                  <a:pos x="254" y="269"/>
                </a:cxn>
                <a:cxn ang="0">
                  <a:pos x="257" y="285"/>
                </a:cxn>
                <a:cxn ang="0">
                  <a:pos x="263" y="294"/>
                </a:cxn>
                <a:cxn ang="0">
                  <a:pos x="187" y="294"/>
                </a:cxn>
                <a:cxn ang="0">
                  <a:pos x="183" y="285"/>
                </a:cxn>
                <a:cxn ang="0">
                  <a:pos x="180" y="271"/>
                </a:cxn>
                <a:cxn ang="0">
                  <a:pos x="179" y="257"/>
                </a:cxn>
                <a:cxn ang="0">
                  <a:pos x="179" y="247"/>
                </a:cxn>
                <a:cxn ang="0">
                  <a:pos x="178" y="233"/>
                </a:cxn>
                <a:cxn ang="0">
                  <a:pos x="175" y="219"/>
                </a:cxn>
                <a:cxn ang="0">
                  <a:pos x="169" y="206"/>
                </a:cxn>
                <a:cxn ang="0">
                  <a:pos x="162" y="195"/>
                </a:cxn>
                <a:cxn ang="0">
                  <a:pos x="151" y="190"/>
                </a:cxn>
                <a:cxn ang="0">
                  <a:pos x="136" y="187"/>
                </a:cxn>
                <a:cxn ang="0">
                  <a:pos x="77" y="187"/>
                </a:cxn>
                <a:cxn ang="0">
                  <a:pos x="77" y="294"/>
                </a:cxn>
                <a:cxn ang="0">
                  <a:pos x="0" y="294"/>
                </a:cxn>
                <a:cxn ang="0">
                  <a:pos x="0" y="0"/>
                </a:cxn>
                <a:cxn ang="0">
                  <a:pos x="77" y="128"/>
                </a:cxn>
                <a:cxn ang="0">
                  <a:pos x="141" y="128"/>
                </a:cxn>
                <a:cxn ang="0">
                  <a:pos x="157" y="125"/>
                </a:cxn>
                <a:cxn ang="0">
                  <a:pos x="168" y="118"/>
                </a:cxn>
                <a:cxn ang="0">
                  <a:pos x="175" y="109"/>
                </a:cxn>
                <a:cxn ang="0">
                  <a:pos x="178" y="93"/>
                </a:cxn>
                <a:cxn ang="0">
                  <a:pos x="176" y="81"/>
                </a:cxn>
                <a:cxn ang="0">
                  <a:pos x="169" y="72"/>
                </a:cxn>
                <a:cxn ang="0">
                  <a:pos x="161" y="65"/>
                </a:cxn>
                <a:cxn ang="0">
                  <a:pos x="151" y="63"/>
                </a:cxn>
                <a:cxn ang="0">
                  <a:pos x="139" y="61"/>
                </a:cxn>
                <a:cxn ang="0">
                  <a:pos x="77" y="61"/>
                </a:cxn>
                <a:cxn ang="0">
                  <a:pos x="77" y="128"/>
                </a:cxn>
              </a:cxnLst>
              <a:rect l="0" t="0" r="r" b="b"/>
              <a:pathLst>
                <a:path w="263" h="294">
                  <a:moveTo>
                    <a:pt x="0" y="0"/>
                  </a:moveTo>
                  <a:lnTo>
                    <a:pt x="151" y="0"/>
                  </a:lnTo>
                  <a:lnTo>
                    <a:pt x="173" y="1"/>
                  </a:lnTo>
                  <a:lnTo>
                    <a:pt x="194" y="5"/>
                  </a:lnTo>
                  <a:lnTo>
                    <a:pt x="214" y="14"/>
                  </a:lnTo>
                  <a:lnTo>
                    <a:pt x="231" y="25"/>
                  </a:lnTo>
                  <a:lnTo>
                    <a:pt x="243" y="40"/>
                  </a:lnTo>
                  <a:lnTo>
                    <a:pt x="252" y="60"/>
                  </a:lnTo>
                  <a:lnTo>
                    <a:pt x="254" y="84"/>
                  </a:lnTo>
                  <a:lnTo>
                    <a:pt x="253" y="102"/>
                  </a:lnTo>
                  <a:lnTo>
                    <a:pt x="248" y="120"/>
                  </a:lnTo>
                  <a:lnTo>
                    <a:pt x="238" y="135"/>
                  </a:lnTo>
                  <a:lnTo>
                    <a:pt x="224" y="148"/>
                  </a:lnTo>
                  <a:lnTo>
                    <a:pt x="207" y="156"/>
                  </a:lnTo>
                  <a:lnTo>
                    <a:pt x="207" y="158"/>
                  </a:lnTo>
                  <a:lnTo>
                    <a:pt x="221" y="163"/>
                  </a:lnTo>
                  <a:lnTo>
                    <a:pt x="232" y="173"/>
                  </a:lnTo>
                  <a:lnTo>
                    <a:pt x="239" y="184"/>
                  </a:lnTo>
                  <a:lnTo>
                    <a:pt x="245" y="198"/>
                  </a:lnTo>
                  <a:lnTo>
                    <a:pt x="249" y="213"/>
                  </a:lnTo>
                  <a:lnTo>
                    <a:pt x="250" y="227"/>
                  </a:lnTo>
                  <a:lnTo>
                    <a:pt x="252" y="239"/>
                  </a:lnTo>
                  <a:lnTo>
                    <a:pt x="253" y="253"/>
                  </a:lnTo>
                  <a:lnTo>
                    <a:pt x="254" y="269"/>
                  </a:lnTo>
                  <a:lnTo>
                    <a:pt x="257" y="285"/>
                  </a:lnTo>
                  <a:lnTo>
                    <a:pt x="263" y="294"/>
                  </a:lnTo>
                  <a:lnTo>
                    <a:pt x="187" y="294"/>
                  </a:lnTo>
                  <a:lnTo>
                    <a:pt x="183" y="285"/>
                  </a:lnTo>
                  <a:lnTo>
                    <a:pt x="180" y="271"/>
                  </a:lnTo>
                  <a:lnTo>
                    <a:pt x="179" y="257"/>
                  </a:lnTo>
                  <a:lnTo>
                    <a:pt x="179" y="247"/>
                  </a:lnTo>
                  <a:lnTo>
                    <a:pt x="178" y="233"/>
                  </a:lnTo>
                  <a:lnTo>
                    <a:pt x="175" y="219"/>
                  </a:lnTo>
                  <a:lnTo>
                    <a:pt x="169" y="206"/>
                  </a:lnTo>
                  <a:lnTo>
                    <a:pt x="162" y="195"/>
                  </a:lnTo>
                  <a:lnTo>
                    <a:pt x="151" y="190"/>
                  </a:lnTo>
                  <a:lnTo>
                    <a:pt x="136" y="187"/>
                  </a:lnTo>
                  <a:lnTo>
                    <a:pt x="77" y="187"/>
                  </a:lnTo>
                  <a:lnTo>
                    <a:pt x="77" y="294"/>
                  </a:lnTo>
                  <a:lnTo>
                    <a:pt x="0" y="294"/>
                  </a:lnTo>
                  <a:lnTo>
                    <a:pt x="0" y="0"/>
                  </a:lnTo>
                  <a:close/>
                  <a:moveTo>
                    <a:pt x="77" y="128"/>
                  </a:moveTo>
                  <a:lnTo>
                    <a:pt x="141" y="128"/>
                  </a:lnTo>
                  <a:lnTo>
                    <a:pt x="157" y="125"/>
                  </a:lnTo>
                  <a:lnTo>
                    <a:pt x="168" y="118"/>
                  </a:lnTo>
                  <a:lnTo>
                    <a:pt x="175" y="109"/>
                  </a:lnTo>
                  <a:lnTo>
                    <a:pt x="178" y="93"/>
                  </a:lnTo>
                  <a:lnTo>
                    <a:pt x="176" y="81"/>
                  </a:lnTo>
                  <a:lnTo>
                    <a:pt x="169" y="72"/>
                  </a:lnTo>
                  <a:lnTo>
                    <a:pt x="161" y="65"/>
                  </a:lnTo>
                  <a:lnTo>
                    <a:pt x="151" y="63"/>
                  </a:lnTo>
                  <a:lnTo>
                    <a:pt x="139" y="61"/>
                  </a:lnTo>
                  <a:lnTo>
                    <a:pt x="77" y="61"/>
                  </a:lnTo>
                  <a:lnTo>
                    <a:pt x="77" y="128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63" name="Freeform 15"/>
            <p:cNvSpPr>
              <a:spLocks noEditPoints="1"/>
            </p:cNvSpPr>
            <p:nvPr/>
          </p:nvSpPr>
          <p:spPr bwMode="auto">
            <a:xfrm>
              <a:off x="9148875" y="6692294"/>
              <a:ext cx="55250" cy="601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7" y="0"/>
                </a:cxn>
                <a:cxn ang="0">
                  <a:pos x="159" y="3"/>
                </a:cxn>
                <a:cxn ang="0">
                  <a:pos x="187" y="10"/>
                </a:cxn>
                <a:cxn ang="0">
                  <a:pos x="212" y="22"/>
                </a:cxn>
                <a:cxn ang="0">
                  <a:pos x="231" y="39"/>
                </a:cxn>
                <a:cxn ang="0">
                  <a:pos x="248" y="60"/>
                </a:cxn>
                <a:cxn ang="0">
                  <a:pos x="261" y="85"/>
                </a:cxn>
                <a:cxn ang="0">
                  <a:pos x="268" y="114"/>
                </a:cxn>
                <a:cxn ang="0">
                  <a:pos x="271" y="146"/>
                </a:cxn>
                <a:cxn ang="0">
                  <a:pos x="268" y="180"/>
                </a:cxn>
                <a:cxn ang="0">
                  <a:pos x="261" y="211"/>
                </a:cxn>
                <a:cxn ang="0">
                  <a:pos x="248" y="236"/>
                </a:cxn>
                <a:cxn ang="0">
                  <a:pos x="231" y="257"/>
                </a:cxn>
                <a:cxn ang="0">
                  <a:pos x="212" y="274"/>
                </a:cxn>
                <a:cxn ang="0">
                  <a:pos x="187" y="285"/>
                </a:cxn>
                <a:cxn ang="0">
                  <a:pos x="159" y="292"/>
                </a:cxn>
                <a:cxn ang="0">
                  <a:pos x="127" y="294"/>
                </a:cxn>
                <a:cxn ang="0">
                  <a:pos x="0" y="294"/>
                </a:cxn>
                <a:cxn ang="0">
                  <a:pos x="0" y="0"/>
                </a:cxn>
                <a:cxn ang="0">
                  <a:pos x="266" y="145"/>
                </a:cxn>
                <a:cxn ang="0">
                  <a:pos x="76" y="42"/>
                </a:cxn>
                <a:cxn ang="0">
                  <a:pos x="76" y="253"/>
                </a:cxn>
                <a:cxn ang="0">
                  <a:pos x="266" y="145"/>
                </a:cxn>
              </a:cxnLst>
              <a:rect l="0" t="0" r="r" b="b"/>
              <a:pathLst>
                <a:path w="271" h="294">
                  <a:moveTo>
                    <a:pt x="0" y="0"/>
                  </a:moveTo>
                  <a:lnTo>
                    <a:pt x="127" y="0"/>
                  </a:lnTo>
                  <a:lnTo>
                    <a:pt x="159" y="3"/>
                  </a:lnTo>
                  <a:lnTo>
                    <a:pt x="187" y="10"/>
                  </a:lnTo>
                  <a:lnTo>
                    <a:pt x="212" y="22"/>
                  </a:lnTo>
                  <a:lnTo>
                    <a:pt x="231" y="39"/>
                  </a:lnTo>
                  <a:lnTo>
                    <a:pt x="248" y="60"/>
                  </a:lnTo>
                  <a:lnTo>
                    <a:pt x="261" y="85"/>
                  </a:lnTo>
                  <a:lnTo>
                    <a:pt x="268" y="114"/>
                  </a:lnTo>
                  <a:lnTo>
                    <a:pt x="271" y="146"/>
                  </a:lnTo>
                  <a:lnTo>
                    <a:pt x="268" y="180"/>
                  </a:lnTo>
                  <a:lnTo>
                    <a:pt x="261" y="211"/>
                  </a:lnTo>
                  <a:lnTo>
                    <a:pt x="248" y="236"/>
                  </a:lnTo>
                  <a:lnTo>
                    <a:pt x="231" y="257"/>
                  </a:lnTo>
                  <a:lnTo>
                    <a:pt x="212" y="274"/>
                  </a:lnTo>
                  <a:lnTo>
                    <a:pt x="187" y="285"/>
                  </a:lnTo>
                  <a:lnTo>
                    <a:pt x="159" y="292"/>
                  </a:lnTo>
                  <a:lnTo>
                    <a:pt x="127" y="294"/>
                  </a:lnTo>
                  <a:lnTo>
                    <a:pt x="0" y="294"/>
                  </a:lnTo>
                  <a:lnTo>
                    <a:pt x="0" y="0"/>
                  </a:lnTo>
                  <a:close/>
                  <a:moveTo>
                    <a:pt x="266" y="145"/>
                  </a:moveTo>
                  <a:lnTo>
                    <a:pt x="76" y="42"/>
                  </a:lnTo>
                  <a:lnTo>
                    <a:pt x="76" y="253"/>
                  </a:lnTo>
                  <a:lnTo>
                    <a:pt x="266" y="145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64" name="Freeform 16"/>
            <p:cNvSpPr>
              <a:spLocks/>
            </p:cNvSpPr>
            <p:nvPr/>
          </p:nvSpPr>
          <p:spPr bwMode="auto">
            <a:xfrm>
              <a:off x="9241094" y="6676450"/>
              <a:ext cx="28844" cy="76375"/>
            </a:xfrm>
            <a:custGeom>
              <a:avLst/>
              <a:gdLst/>
              <a:ahLst/>
              <a:cxnLst>
                <a:cxn ang="0">
                  <a:pos x="87" y="87"/>
                </a:cxn>
                <a:cxn ang="0">
                  <a:pos x="144" y="87"/>
                </a:cxn>
                <a:cxn ang="0">
                  <a:pos x="144" y="116"/>
                </a:cxn>
                <a:cxn ang="0">
                  <a:pos x="87" y="116"/>
                </a:cxn>
                <a:cxn ang="0">
                  <a:pos x="87" y="323"/>
                </a:cxn>
                <a:cxn ang="0">
                  <a:pos x="90" y="333"/>
                </a:cxn>
                <a:cxn ang="0">
                  <a:pos x="94" y="341"/>
                </a:cxn>
                <a:cxn ang="0">
                  <a:pos x="102" y="345"/>
                </a:cxn>
                <a:cxn ang="0">
                  <a:pos x="115" y="348"/>
                </a:cxn>
                <a:cxn ang="0">
                  <a:pos x="144" y="347"/>
                </a:cxn>
                <a:cxn ang="0">
                  <a:pos x="144" y="376"/>
                </a:cxn>
                <a:cxn ang="0">
                  <a:pos x="129" y="377"/>
                </a:cxn>
                <a:cxn ang="0">
                  <a:pos x="113" y="377"/>
                </a:cxn>
                <a:cxn ang="0">
                  <a:pos x="92" y="376"/>
                </a:cxn>
                <a:cxn ang="0">
                  <a:pos x="77" y="372"/>
                </a:cxn>
                <a:cxn ang="0">
                  <a:pos x="64" y="363"/>
                </a:cxn>
                <a:cxn ang="0">
                  <a:pos x="56" y="351"/>
                </a:cxn>
                <a:cxn ang="0">
                  <a:pos x="52" y="335"/>
                </a:cxn>
                <a:cxn ang="0">
                  <a:pos x="50" y="313"/>
                </a:cxn>
                <a:cxn ang="0">
                  <a:pos x="50" y="116"/>
                </a:cxn>
                <a:cxn ang="0">
                  <a:pos x="0" y="116"/>
                </a:cxn>
                <a:cxn ang="0">
                  <a:pos x="0" y="87"/>
                </a:cxn>
                <a:cxn ang="0">
                  <a:pos x="50" y="87"/>
                </a:cxn>
                <a:cxn ang="0">
                  <a:pos x="50" y="0"/>
                </a:cxn>
                <a:cxn ang="0">
                  <a:pos x="87" y="0"/>
                </a:cxn>
                <a:cxn ang="0">
                  <a:pos x="87" y="87"/>
                </a:cxn>
              </a:cxnLst>
              <a:rect l="0" t="0" r="r" b="b"/>
              <a:pathLst>
                <a:path w="144" h="377">
                  <a:moveTo>
                    <a:pt x="87" y="87"/>
                  </a:moveTo>
                  <a:lnTo>
                    <a:pt x="144" y="87"/>
                  </a:lnTo>
                  <a:lnTo>
                    <a:pt x="144" y="116"/>
                  </a:lnTo>
                  <a:lnTo>
                    <a:pt x="87" y="116"/>
                  </a:lnTo>
                  <a:lnTo>
                    <a:pt x="87" y="323"/>
                  </a:lnTo>
                  <a:lnTo>
                    <a:pt x="90" y="333"/>
                  </a:lnTo>
                  <a:lnTo>
                    <a:pt x="94" y="341"/>
                  </a:lnTo>
                  <a:lnTo>
                    <a:pt x="102" y="345"/>
                  </a:lnTo>
                  <a:lnTo>
                    <a:pt x="115" y="348"/>
                  </a:lnTo>
                  <a:lnTo>
                    <a:pt x="144" y="347"/>
                  </a:lnTo>
                  <a:lnTo>
                    <a:pt x="144" y="376"/>
                  </a:lnTo>
                  <a:lnTo>
                    <a:pt x="129" y="377"/>
                  </a:lnTo>
                  <a:lnTo>
                    <a:pt x="113" y="377"/>
                  </a:lnTo>
                  <a:lnTo>
                    <a:pt x="92" y="376"/>
                  </a:lnTo>
                  <a:lnTo>
                    <a:pt x="77" y="372"/>
                  </a:lnTo>
                  <a:lnTo>
                    <a:pt x="64" y="363"/>
                  </a:lnTo>
                  <a:lnTo>
                    <a:pt x="56" y="351"/>
                  </a:lnTo>
                  <a:lnTo>
                    <a:pt x="52" y="335"/>
                  </a:lnTo>
                  <a:lnTo>
                    <a:pt x="50" y="313"/>
                  </a:lnTo>
                  <a:lnTo>
                    <a:pt x="50" y="116"/>
                  </a:lnTo>
                  <a:lnTo>
                    <a:pt x="0" y="116"/>
                  </a:lnTo>
                  <a:lnTo>
                    <a:pt x="0" y="87"/>
                  </a:lnTo>
                  <a:lnTo>
                    <a:pt x="50" y="87"/>
                  </a:lnTo>
                  <a:lnTo>
                    <a:pt x="50" y="0"/>
                  </a:lnTo>
                  <a:lnTo>
                    <a:pt x="87" y="0"/>
                  </a:lnTo>
                  <a:lnTo>
                    <a:pt x="87" y="8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65" name="Freeform 17"/>
            <p:cNvSpPr>
              <a:spLocks/>
            </p:cNvSpPr>
            <p:nvPr/>
          </p:nvSpPr>
          <p:spPr bwMode="auto">
            <a:xfrm>
              <a:off x="9291875" y="6671575"/>
              <a:ext cx="47125" cy="8084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" y="0"/>
                </a:cxn>
                <a:cxn ang="0">
                  <a:pos x="35" y="160"/>
                </a:cxn>
                <a:cxn ang="0">
                  <a:pos x="36" y="160"/>
                </a:cxn>
                <a:cxn ang="0">
                  <a:pos x="48" y="141"/>
                </a:cxn>
                <a:cxn ang="0">
                  <a:pos x="63" y="125"/>
                </a:cxn>
                <a:cxn ang="0">
                  <a:pos x="83" y="114"/>
                </a:cxn>
                <a:cxn ang="0">
                  <a:pos x="105" y="105"/>
                </a:cxn>
                <a:cxn ang="0">
                  <a:pos x="129" y="102"/>
                </a:cxn>
                <a:cxn ang="0">
                  <a:pos x="157" y="104"/>
                </a:cxn>
                <a:cxn ang="0">
                  <a:pos x="179" y="109"/>
                </a:cxn>
                <a:cxn ang="0">
                  <a:pos x="197" y="119"/>
                </a:cxn>
                <a:cxn ang="0">
                  <a:pos x="211" y="132"/>
                </a:cxn>
                <a:cxn ang="0">
                  <a:pos x="222" y="147"/>
                </a:cxn>
                <a:cxn ang="0">
                  <a:pos x="228" y="167"/>
                </a:cxn>
                <a:cxn ang="0">
                  <a:pos x="232" y="189"/>
                </a:cxn>
                <a:cxn ang="0">
                  <a:pos x="233" y="213"/>
                </a:cxn>
                <a:cxn ang="0">
                  <a:pos x="233" y="398"/>
                </a:cxn>
                <a:cxn ang="0">
                  <a:pos x="198" y="398"/>
                </a:cxn>
                <a:cxn ang="0">
                  <a:pos x="198" y="218"/>
                </a:cxn>
                <a:cxn ang="0">
                  <a:pos x="197" y="199"/>
                </a:cxn>
                <a:cxn ang="0">
                  <a:pos x="194" y="179"/>
                </a:cxn>
                <a:cxn ang="0">
                  <a:pos x="187" y="164"/>
                </a:cxn>
                <a:cxn ang="0">
                  <a:pos x="179" y="150"/>
                </a:cxn>
                <a:cxn ang="0">
                  <a:pos x="165" y="140"/>
                </a:cxn>
                <a:cxn ang="0">
                  <a:pos x="148" y="134"/>
                </a:cxn>
                <a:cxn ang="0">
                  <a:pos x="126" y="132"/>
                </a:cxn>
                <a:cxn ang="0">
                  <a:pos x="99" y="134"/>
                </a:cxn>
                <a:cxn ang="0">
                  <a:pos x="78" y="144"/>
                </a:cxn>
                <a:cxn ang="0">
                  <a:pos x="60" y="160"/>
                </a:cxn>
                <a:cxn ang="0">
                  <a:pos x="46" y="179"/>
                </a:cxn>
                <a:cxn ang="0">
                  <a:pos x="38" y="204"/>
                </a:cxn>
                <a:cxn ang="0">
                  <a:pos x="35" y="231"/>
                </a:cxn>
                <a:cxn ang="0">
                  <a:pos x="35" y="398"/>
                </a:cxn>
                <a:cxn ang="0">
                  <a:pos x="0" y="398"/>
                </a:cxn>
                <a:cxn ang="0">
                  <a:pos x="0" y="0"/>
                </a:cxn>
              </a:cxnLst>
              <a:rect l="0" t="0" r="r" b="b"/>
              <a:pathLst>
                <a:path w="233" h="398">
                  <a:moveTo>
                    <a:pt x="0" y="0"/>
                  </a:moveTo>
                  <a:lnTo>
                    <a:pt x="35" y="0"/>
                  </a:lnTo>
                  <a:lnTo>
                    <a:pt x="35" y="160"/>
                  </a:lnTo>
                  <a:lnTo>
                    <a:pt x="36" y="160"/>
                  </a:lnTo>
                  <a:lnTo>
                    <a:pt x="48" y="141"/>
                  </a:lnTo>
                  <a:lnTo>
                    <a:pt x="63" y="125"/>
                  </a:lnTo>
                  <a:lnTo>
                    <a:pt x="83" y="114"/>
                  </a:lnTo>
                  <a:lnTo>
                    <a:pt x="105" y="105"/>
                  </a:lnTo>
                  <a:lnTo>
                    <a:pt x="129" y="102"/>
                  </a:lnTo>
                  <a:lnTo>
                    <a:pt x="157" y="104"/>
                  </a:lnTo>
                  <a:lnTo>
                    <a:pt x="179" y="109"/>
                  </a:lnTo>
                  <a:lnTo>
                    <a:pt x="197" y="119"/>
                  </a:lnTo>
                  <a:lnTo>
                    <a:pt x="211" y="132"/>
                  </a:lnTo>
                  <a:lnTo>
                    <a:pt x="222" y="147"/>
                  </a:lnTo>
                  <a:lnTo>
                    <a:pt x="228" y="167"/>
                  </a:lnTo>
                  <a:lnTo>
                    <a:pt x="232" y="189"/>
                  </a:lnTo>
                  <a:lnTo>
                    <a:pt x="233" y="213"/>
                  </a:lnTo>
                  <a:lnTo>
                    <a:pt x="233" y="398"/>
                  </a:lnTo>
                  <a:lnTo>
                    <a:pt x="198" y="398"/>
                  </a:lnTo>
                  <a:lnTo>
                    <a:pt x="198" y="218"/>
                  </a:lnTo>
                  <a:lnTo>
                    <a:pt x="197" y="199"/>
                  </a:lnTo>
                  <a:lnTo>
                    <a:pt x="194" y="179"/>
                  </a:lnTo>
                  <a:lnTo>
                    <a:pt x="187" y="164"/>
                  </a:lnTo>
                  <a:lnTo>
                    <a:pt x="179" y="150"/>
                  </a:lnTo>
                  <a:lnTo>
                    <a:pt x="165" y="140"/>
                  </a:lnTo>
                  <a:lnTo>
                    <a:pt x="148" y="134"/>
                  </a:lnTo>
                  <a:lnTo>
                    <a:pt x="126" y="132"/>
                  </a:lnTo>
                  <a:lnTo>
                    <a:pt x="99" y="134"/>
                  </a:lnTo>
                  <a:lnTo>
                    <a:pt x="78" y="144"/>
                  </a:lnTo>
                  <a:lnTo>
                    <a:pt x="60" y="160"/>
                  </a:lnTo>
                  <a:lnTo>
                    <a:pt x="46" y="179"/>
                  </a:lnTo>
                  <a:lnTo>
                    <a:pt x="38" y="204"/>
                  </a:lnTo>
                  <a:lnTo>
                    <a:pt x="35" y="231"/>
                  </a:lnTo>
                  <a:lnTo>
                    <a:pt x="35" y="398"/>
                  </a:lnTo>
                  <a:lnTo>
                    <a:pt x="0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66" name="Freeform 18"/>
            <p:cNvSpPr>
              <a:spLocks noEditPoints="1"/>
            </p:cNvSpPr>
            <p:nvPr/>
          </p:nvSpPr>
          <p:spPr bwMode="auto">
            <a:xfrm>
              <a:off x="9364187" y="6671575"/>
              <a:ext cx="6906" cy="8084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" y="0"/>
                </a:cxn>
                <a:cxn ang="0">
                  <a:pos x="35" y="56"/>
                </a:cxn>
                <a:cxn ang="0">
                  <a:pos x="0" y="56"/>
                </a:cxn>
                <a:cxn ang="0">
                  <a:pos x="0" y="0"/>
                </a:cxn>
                <a:cxn ang="0">
                  <a:pos x="0" y="111"/>
                </a:cxn>
                <a:cxn ang="0">
                  <a:pos x="35" y="111"/>
                </a:cxn>
                <a:cxn ang="0">
                  <a:pos x="35" y="398"/>
                </a:cxn>
                <a:cxn ang="0">
                  <a:pos x="0" y="398"/>
                </a:cxn>
                <a:cxn ang="0">
                  <a:pos x="0" y="111"/>
                </a:cxn>
              </a:cxnLst>
              <a:rect l="0" t="0" r="r" b="b"/>
              <a:pathLst>
                <a:path w="35" h="398">
                  <a:moveTo>
                    <a:pt x="0" y="0"/>
                  </a:moveTo>
                  <a:lnTo>
                    <a:pt x="35" y="0"/>
                  </a:lnTo>
                  <a:lnTo>
                    <a:pt x="35" y="56"/>
                  </a:lnTo>
                  <a:lnTo>
                    <a:pt x="0" y="56"/>
                  </a:lnTo>
                  <a:lnTo>
                    <a:pt x="0" y="0"/>
                  </a:lnTo>
                  <a:close/>
                  <a:moveTo>
                    <a:pt x="0" y="111"/>
                  </a:moveTo>
                  <a:lnTo>
                    <a:pt x="35" y="111"/>
                  </a:lnTo>
                  <a:lnTo>
                    <a:pt x="35" y="398"/>
                  </a:lnTo>
                  <a:lnTo>
                    <a:pt x="0" y="398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67" name="Freeform 19"/>
            <p:cNvSpPr>
              <a:spLocks/>
            </p:cNvSpPr>
            <p:nvPr/>
          </p:nvSpPr>
          <p:spPr bwMode="auto">
            <a:xfrm>
              <a:off x="9396281" y="6692294"/>
              <a:ext cx="47125" cy="60125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5" y="9"/>
                </a:cxn>
                <a:cxn ang="0">
                  <a:pos x="35" y="58"/>
                </a:cxn>
                <a:cxn ang="0">
                  <a:pos x="36" y="58"/>
                </a:cxn>
                <a:cxn ang="0">
                  <a:pos x="48" y="39"/>
                </a:cxn>
                <a:cxn ang="0">
                  <a:pos x="63" y="23"/>
                </a:cxn>
                <a:cxn ang="0">
                  <a:pos x="83" y="12"/>
                </a:cxn>
                <a:cxn ang="0">
                  <a:pos x="105" y="3"/>
                </a:cxn>
                <a:cxn ang="0">
                  <a:pos x="129" y="0"/>
                </a:cxn>
                <a:cxn ang="0">
                  <a:pos x="157" y="2"/>
                </a:cxn>
                <a:cxn ang="0">
                  <a:pos x="179" y="7"/>
                </a:cxn>
                <a:cxn ang="0">
                  <a:pos x="197" y="17"/>
                </a:cxn>
                <a:cxn ang="0">
                  <a:pos x="211" y="30"/>
                </a:cxn>
                <a:cxn ang="0">
                  <a:pos x="222" y="45"/>
                </a:cxn>
                <a:cxn ang="0">
                  <a:pos x="228" y="65"/>
                </a:cxn>
                <a:cxn ang="0">
                  <a:pos x="232" y="87"/>
                </a:cxn>
                <a:cxn ang="0">
                  <a:pos x="233" y="111"/>
                </a:cxn>
                <a:cxn ang="0">
                  <a:pos x="233" y="296"/>
                </a:cxn>
                <a:cxn ang="0">
                  <a:pos x="198" y="296"/>
                </a:cxn>
                <a:cxn ang="0">
                  <a:pos x="198" y="116"/>
                </a:cxn>
                <a:cxn ang="0">
                  <a:pos x="197" y="97"/>
                </a:cxn>
                <a:cxn ang="0">
                  <a:pos x="194" y="77"/>
                </a:cxn>
                <a:cxn ang="0">
                  <a:pos x="187" y="62"/>
                </a:cxn>
                <a:cxn ang="0">
                  <a:pos x="179" y="48"/>
                </a:cxn>
                <a:cxn ang="0">
                  <a:pos x="165" y="38"/>
                </a:cxn>
                <a:cxn ang="0">
                  <a:pos x="148" y="32"/>
                </a:cxn>
                <a:cxn ang="0">
                  <a:pos x="126" y="30"/>
                </a:cxn>
                <a:cxn ang="0">
                  <a:pos x="99" y="32"/>
                </a:cxn>
                <a:cxn ang="0">
                  <a:pos x="78" y="42"/>
                </a:cxn>
                <a:cxn ang="0">
                  <a:pos x="60" y="58"/>
                </a:cxn>
                <a:cxn ang="0">
                  <a:pos x="46" y="77"/>
                </a:cxn>
                <a:cxn ang="0">
                  <a:pos x="38" y="102"/>
                </a:cxn>
                <a:cxn ang="0">
                  <a:pos x="35" y="129"/>
                </a:cxn>
                <a:cxn ang="0">
                  <a:pos x="35" y="296"/>
                </a:cxn>
                <a:cxn ang="0">
                  <a:pos x="0" y="296"/>
                </a:cxn>
                <a:cxn ang="0">
                  <a:pos x="0" y="9"/>
                </a:cxn>
              </a:cxnLst>
              <a:rect l="0" t="0" r="r" b="b"/>
              <a:pathLst>
                <a:path w="233" h="296">
                  <a:moveTo>
                    <a:pt x="0" y="9"/>
                  </a:moveTo>
                  <a:lnTo>
                    <a:pt x="35" y="9"/>
                  </a:lnTo>
                  <a:lnTo>
                    <a:pt x="35" y="58"/>
                  </a:lnTo>
                  <a:lnTo>
                    <a:pt x="36" y="58"/>
                  </a:lnTo>
                  <a:lnTo>
                    <a:pt x="48" y="39"/>
                  </a:lnTo>
                  <a:lnTo>
                    <a:pt x="63" y="23"/>
                  </a:lnTo>
                  <a:lnTo>
                    <a:pt x="83" y="12"/>
                  </a:lnTo>
                  <a:lnTo>
                    <a:pt x="105" y="3"/>
                  </a:lnTo>
                  <a:lnTo>
                    <a:pt x="129" y="0"/>
                  </a:lnTo>
                  <a:lnTo>
                    <a:pt x="157" y="2"/>
                  </a:lnTo>
                  <a:lnTo>
                    <a:pt x="179" y="7"/>
                  </a:lnTo>
                  <a:lnTo>
                    <a:pt x="197" y="17"/>
                  </a:lnTo>
                  <a:lnTo>
                    <a:pt x="211" y="30"/>
                  </a:lnTo>
                  <a:lnTo>
                    <a:pt x="222" y="45"/>
                  </a:lnTo>
                  <a:lnTo>
                    <a:pt x="228" y="65"/>
                  </a:lnTo>
                  <a:lnTo>
                    <a:pt x="232" y="87"/>
                  </a:lnTo>
                  <a:lnTo>
                    <a:pt x="233" y="111"/>
                  </a:lnTo>
                  <a:lnTo>
                    <a:pt x="233" y="296"/>
                  </a:lnTo>
                  <a:lnTo>
                    <a:pt x="198" y="296"/>
                  </a:lnTo>
                  <a:lnTo>
                    <a:pt x="198" y="116"/>
                  </a:lnTo>
                  <a:lnTo>
                    <a:pt x="197" y="97"/>
                  </a:lnTo>
                  <a:lnTo>
                    <a:pt x="194" y="77"/>
                  </a:lnTo>
                  <a:lnTo>
                    <a:pt x="187" y="62"/>
                  </a:lnTo>
                  <a:lnTo>
                    <a:pt x="179" y="48"/>
                  </a:lnTo>
                  <a:lnTo>
                    <a:pt x="165" y="38"/>
                  </a:lnTo>
                  <a:lnTo>
                    <a:pt x="148" y="32"/>
                  </a:lnTo>
                  <a:lnTo>
                    <a:pt x="126" y="30"/>
                  </a:lnTo>
                  <a:lnTo>
                    <a:pt x="99" y="32"/>
                  </a:lnTo>
                  <a:lnTo>
                    <a:pt x="78" y="42"/>
                  </a:lnTo>
                  <a:lnTo>
                    <a:pt x="60" y="58"/>
                  </a:lnTo>
                  <a:lnTo>
                    <a:pt x="46" y="77"/>
                  </a:lnTo>
                  <a:lnTo>
                    <a:pt x="38" y="102"/>
                  </a:lnTo>
                  <a:lnTo>
                    <a:pt x="35" y="129"/>
                  </a:lnTo>
                  <a:lnTo>
                    <a:pt x="35" y="296"/>
                  </a:lnTo>
                  <a:lnTo>
                    <a:pt x="0" y="296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68" name="Freeform 20"/>
            <p:cNvSpPr>
              <a:spLocks/>
            </p:cNvSpPr>
            <p:nvPr/>
          </p:nvSpPr>
          <p:spPr bwMode="auto">
            <a:xfrm>
              <a:off x="9468594" y="6671575"/>
              <a:ext cx="50375" cy="8084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" y="0"/>
                </a:cxn>
                <a:cxn ang="0">
                  <a:pos x="35" y="250"/>
                </a:cxn>
                <a:cxn ang="0">
                  <a:pos x="194" y="111"/>
                </a:cxn>
                <a:cxn ang="0">
                  <a:pos x="241" y="111"/>
                </a:cxn>
                <a:cxn ang="0">
                  <a:pos x="119" y="217"/>
                </a:cxn>
                <a:cxn ang="0">
                  <a:pos x="249" y="398"/>
                </a:cxn>
                <a:cxn ang="0">
                  <a:pos x="206" y="398"/>
                </a:cxn>
                <a:cxn ang="0">
                  <a:pos x="91" y="242"/>
                </a:cxn>
                <a:cxn ang="0">
                  <a:pos x="35" y="290"/>
                </a:cxn>
                <a:cxn ang="0">
                  <a:pos x="35" y="398"/>
                </a:cxn>
                <a:cxn ang="0">
                  <a:pos x="0" y="398"/>
                </a:cxn>
                <a:cxn ang="0">
                  <a:pos x="0" y="0"/>
                </a:cxn>
              </a:cxnLst>
              <a:rect l="0" t="0" r="r" b="b"/>
              <a:pathLst>
                <a:path w="249" h="398">
                  <a:moveTo>
                    <a:pt x="0" y="0"/>
                  </a:moveTo>
                  <a:lnTo>
                    <a:pt x="35" y="0"/>
                  </a:lnTo>
                  <a:lnTo>
                    <a:pt x="35" y="250"/>
                  </a:lnTo>
                  <a:lnTo>
                    <a:pt x="194" y="111"/>
                  </a:lnTo>
                  <a:lnTo>
                    <a:pt x="241" y="111"/>
                  </a:lnTo>
                  <a:lnTo>
                    <a:pt x="119" y="217"/>
                  </a:lnTo>
                  <a:lnTo>
                    <a:pt x="249" y="398"/>
                  </a:lnTo>
                  <a:lnTo>
                    <a:pt x="206" y="398"/>
                  </a:lnTo>
                  <a:lnTo>
                    <a:pt x="91" y="242"/>
                  </a:lnTo>
                  <a:lnTo>
                    <a:pt x="35" y="290"/>
                  </a:lnTo>
                  <a:lnTo>
                    <a:pt x="35" y="398"/>
                  </a:lnTo>
                  <a:lnTo>
                    <a:pt x="0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69" name="Freeform 21"/>
            <p:cNvSpPr>
              <a:spLocks noEditPoints="1"/>
            </p:cNvSpPr>
            <p:nvPr/>
          </p:nvSpPr>
          <p:spPr bwMode="auto">
            <a:xfrm>
              <a:off x="9536437" y="6671575"/>
              <a:ext cx="7313" cy="8084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6" y="0"/>
                </a:cxn>
                <a:cxn ang="0">
                  <a:pos x="36" y="56"/>
                </a:cxn>
                <a:cxn ang="0">
                  <a:pos x="0" y="56"/>
                </a:cxn>
                <a:cxn ang="0">
                  <a:pos x="0" y="0"/>
                </a:cxn>
                <a:cxn ang="0">
                  <a:pos x="0" y="111"/>
                </a:cxn>
                <a:cxn ang="0">
                  <a:pos x="36" y="111"/>
                </a:cxn>
                <a:cxn ang="0">
                  <a:pos x="36" y="398"/>
                </a:cxn>
                <a:cxn ang="0">
                  <a:pos x="0" y="398"/>
                </a:cxn>
                <a:cxn ang="0">
                  <a:pos x="0" y="111"/>
                </a:cxn>
              </a:cxnLst>
              <a:rect l="0" t="0" r="r" b="b"/>
              <a:pathLst>
                <a:path w="36" h="398">
                  <a:moveTo>
                    <a:pt x="0" y="0"/>
                  </a:moveTo>
                  <a:lnTo>
                    <a:pt x="36" y="0"/>
                  </a:lnTo>
                  <a:lnTo>
                    <a:pt x="36" y="56"/>
                  </a:lnTo>
                  <a:lnTo>
                    <a:pt x="0" y="56"/>
                  </a:lnTo>
                  <a:lnTo>
                    <a:pt x="0" y="0"/>
                  </a:lnTo>
                  <a:close/>
                  <a:moveTo>
                    <a:pt x="0" y="111"/>
                  </a:moveTo>
                  <a:lnTo>
                    <a:pt x="36" y="111"/>
                  </a:lnTo>
                  <a:lnTo>
                    <a:pt x="36" y="398"/>
                  </a:lnTo>
                  <a:lnTo>
                    <a:pt x="0" y="398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70" name="Freeform 22"/>
            <p:cNvSpPr>
              <a:spLocks/>
            </p:cNvSpPr>
            <p:nvPr/>
          </p:nvSpPr>
          <p:spPr bwMode="auto">
            <a:xfrm>
              <a:off x="9568531" y="6692294"/>
              <a:ext cx="47531" cy="60125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6" y="9"/>
                </a:cxn>
                <a:cxn ang="0">
                  <a:pos x="36" y="58"/>
                </a:cxn>
                <a:cxn ang="0">
                  <a:pos x="47" y="39"/>
                </a:cxn>
                <a:cxn ang="0">
                  <a:pos x="63" y="23"/>
                </a:cxn>
                <a:cxn ang="0">
                  <a:pos x="82" y="12"/>
                </a:cxn>
                <a:cxn ang="0">
                  <a:pos x="105" y="3"/>
                </a:cxn>
                <a:cxn ang="0">
                  <a:pos x="129" y="0"/>
                </a:cxn>
                <a:cxn ang="0">
                  <a:pos x="156" y="2"/>
                </a:cxn>
                <a:cxn ang="0">
                  <a:pos x="179" y="7"/>
                </a:cxn>
                <a:cxn ang="0">
                  <a:pos x="198" y="17"/>
                </a:cxn>
                <a:cxn ang="0">
                  <a:pos x="212" y="30"/>
                </a:cxn>
                <a:cxn ang="0">
                  <a:pos x="222" y="45"/>
                </a:cxn>
                <a:cxn ang="0">
                  <a:pos x="229" y="65"/>
                </a:cxn>
                <a:cxn ang="0">
                  <a:pos x="233" y="87"/>
                </a:cxn>
                <a:cxn ang="0">
                  <a:pos x="235" y="111"/>
                </a:cxn>
                <a:cxn ang="0">
                  <a:pos x="235" y="296"/>
                </a:cxn>
                <a:cxn ang="0">
                  <a:pos x="198" y="296"/>
                </a:cxn>
                <a:cxn ang="0">
                  <a:pos x="198" y="116"/>
                </a:cxn>
                <a:cxn ang="0">
                  <a:pos x="197" y="97"/>
                </a:cxn>
                <a:cxn ang="0">
                  <a:pos x="194" y="77"/>
                </a:cxn>
                <a:cxn ang="0">
                  <a:pos x="187" y="62"/>
                </a:cxn>
                <a:cxn ang="0">
                  <a:pos x="179" y="48"/>
                </a:cxn>
                <a:cxn ang="0">
                  <a:pos x="165" y="38"/>
                </a:cxn>
                <a:cxn ang="0">
                  <a:pos x="148" y="32"/>
                </a:cxn>
                <a:cxn ang="0">
                  <a:pos x="126" y="30"/>
                </a:cxn>
                <a:cxn ang="0">
                  <a:pos x="99" y="32"/>
                </a:cxn>
                <a:cxn ang="0">
                  <a:pos x="78" y="42"/>
                </a:cxn>
                <a:cxn ang="0">
                  <a:pos x="60" y="58"/>
                </a:cxn>
                <a:cxn ang="0">
                  <a:pos x="47" y="77"/>
                </a:cxn>
                <a:cxn ang="0">
                  <a:pos x="39" y="102"/>
                </a:cxn>
                <a:cxn ang="0">
                  <a:pos x="36" y="129"/>
                </a:cxn>
                <a:cxn ang="0">
                  <a:pos x="36" y="296"/>
                </a:cxn>
                <a:cxn ang="0">
                  <a:pos x="0" y="296"/>
                </a:cxn>
                <a:cxn ang="0">
                  <a:pos x="0" y="9"/>
                </a:cxn>
              </a:cxnLst>
              <a:rect l="0" t="0" r="r" b="b"/>
              <a:pathLst>
                <a:path w="235" h="296">
                  <a:moveTo>
                    <a:pt x="0" y="9"/>
                  </a:moveTo>
                  <a:lnTo>
                    <a:pt x="36" y="9"/>
                  </a:lnTo>
                  <a:lnTo>
                    <a:pt x="36" y="58"/>
                  </a:lnTo>
                  <a:lnTo>
                    <a:pt x="47" y="39"/>
                  </a:lnTo>
                  <a:lnTo>
                    <a:pt x="63" y="23"/>
                  </a:lnTo>
                  <a:lnTo>
                    <a:pt x="82" y="12"/>
                  </a:lnTo>
                  <a:lnTo>
                    <a:pt x="105" y="3"/>
                  </a:lnTo>
                  <a:lnTo>
                    <a:pt x="129" y="0"/>
                  </a:lnTo>
                  <a:lnTo>
                    <a:pt x="156" y="2"/>
                  </a:lnTo>
                  <a:lnTo>
                    <a:pt x="179" y="7"/>
                  </a:lnTo>
                  <a:lnTo>
                    <a:pt x="198" y="17"/>
                  </a:lnTo>
                  <a:lnTo>
                    <a:pt x="212" y="30"/>
                  </a:lnTo>
                  <a:lnTo>
                    <a:pt x="222" y="45"/>
                  </a:lnTo>
                  <a:lnTo>
                    <a:pt x="229" y="65"/>
                  </a:lnTo>
                  <a:lnTo>
                    <a:pt x="233" y="87"/>
                  </a:lnTo>
                  <a:lnTo>
                    <a:pt x="235" y="111"/>
                  </a:lnTo>
                  <a:lnTo>
                    <a:pt x="235" y="296"/>
                  </a:lnTo>
                  <a:lnTo>
                    <a:pt x="198" y="296"/>
                  </a:lnTo>
                  <a:lnTo>
                    <a:pt x="198" y="116"/>
                  </a:lnTo>
                  <a:lnTo>
                    <a:pt x="197" y="97"/>
                  </a:lnTo>
                  <a:lnTo>
                    <a:pt x="194" y="77"/>
                  </a:lnTo>
                  <a:lnTo>
                    <a:pt x="187" y="62"/>
                  </a:lnTo>
                  <a:lnTo>
                    <a:pt x="179" y="48"/>
                  </a:lnTo>
                  <a:lnTo>
                    <a:pt x="165" y="38"/>
                  </a:lnTo>
                  <a:lnTo>
                    <a:pt x="148" y="32"/>
                  </a:lnTo>
                  <a:lnTo>
                    <a:pt x="126" y="30"/>
                  </a:lnTo>
                  <a:lnTo>
                    <a:pt x="99" y="32"/>
                  </a:lnTo>
                  <a:lnTo>
                    <a:pt x="78" y="42"/>
                  </a:lnTo>
                  <a:lnTo>
                    <a:pt x="60" y="58"/>
                  </a:lnTo>
                  <a:lnTo>
                    <a:pt x="47" y="77"/>
                  </a:lnTo>
                  <a:lnTo>
                    <a:pt x="39" y="102"/>
                  </a:lnTo>
                  <a:lnTo>
                    <a:pt x="36" y="129"/>
                  </a:lnTo>
                  <a:lnTo>
                    <a:pt x="36" y="296"/>
                  </a:lnTo>
                  <a:lnTo>
                    <a:pt x="0" y="296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71" name="Freeform 23"/>
            <p:cNvSpPr>
              <a:spLocks noEditPoints="1"/>
            </p:cNvSpPr>
            <p:nvPr/>
          </p:nvSpPr>
          <p:spPr bwMode="auto">
            <a:xfrm>
              <a:off x="9638000" y="6692294"/>
              <a:ext cx="52000" cy="83281"/>
            </a:xfrm>
            <a:custGeom>
              <a:avLst/>
              <a:gdLst/>
              <a:ahLst/>
              <a:cxnLst>
                <a:cxn ang="0">
                  <a:pos x="256" y="303"/>
                </a:cxn>
                <a:cxn ang="0">
                  <a:pos x="242" y="355"/>
                </a:cxn>
                <a:cxn ang="0">
                  <a:pos x="211" y="390"/>
                </a:cxn>
                <a:cxn ang="0">
                  <a:pos x="162" y="408"/>
                </a:cxn>
                <a:cxn ang="0">
                  <a:pos x="105" y="410"/>
                </a:cxn>
                <a:cxn ang="0">
                  <a:pos x="60" y="396"/>
                </a:cxn>
                <a:cxn ang="0">
                  <a:pos x="25" y="369"/>
                </a:cxn>
                <a:cxn ang="0">
                  <a:pos x="10" y="324"/>
                </a:cxn>
                <a:cxn ang="0">
                  <a:pos x="52" y="343"/>
                </a:cxn>
                <a:cxn ang="0">
                  <a:pos x="76" y="369"/>
                </a:cxn>
                <a:cxn ang="0">
                  <a:pos x="111" y="380"/>
                </a:cxn>
                <a:cxn ang="0">
                  <a:pos x="155" y="379"/>
                </a:cxn>
                <a:cxn ang="0">
                  <a:pos x="193" y="361"/>
                </a:cxn>
                <a:cxn ang="0">
                  <a:pos x="215" y="324"/>
                </a:cxn>
                <a:cxn ang="0">
                  <a:pos x="222" y="273"/>
                </a:cxn>
                <a:cxn ang="0">
                  <a:pos x="221" y="234"/>
                </a:cxn>
                <a:cxn ang="0">
                  <a:pos x="193" y="270"/>
                </a:cxn>
                <a:cxn ang="0">
                  <a:pos x="154" y="290"/>
                </a:cxn>
                <a:cxn ang="0">
                  <a:pos x="101" y="290"/>
                </a:cxn>
                <a:cxn ang="0">
                  <a:pos x="56" y="273"/>
                </a:cxn>
                <a:cxn ang="0">
                  <a:pos x="24" y="241"/>
                </a:cxn>
                <a:cxn ang="0">
                  <a:pos x="6" y="197"/>
                </a:cxn>
                <a:cxn ang="0">
                  <a:pos x="0" y="146"/>
                </a:cxn>
                <a:cxn ang="0">
                  <a:pos x="9" y="90"/>
                </a:cxn>
                <a:cxn ang="0">
                  <a:pos x="34" y="44"/>
                </a:cxn>
                <a:cxn ang="0">
                  <a:pos x="74" y="12"/>
                </a:cxn>
                <a:cxn ang="0">
                  <a:pos x="130" y="0"/>
                </a:cxn>
                <a:cxn ang="0">
                  <a:pos x="176" y="12"/>
                </a:cxn>
                <a:cxn ang="0">
                  <a:pos x="210" y="39"/>
                </a:cxn>
                <a:cxn ang="0">
                  <a:pos x="222" y="58"/>
                </a:cxn>
                <a:cxn ang="0">
                  <a:pos x="257" y="9"/>
                </a:cxn>
                <a:cxn ang="0">
                  <a:pos x="222" y="150"/>
                </a:cxn>
                <a:cxn ang="0">
                  <a:pos x="217" y="107"/>
                </a:cxn>
                <a:cxn ang="0">
                  <a:pos x="201" y="69"/>
                </a:cxn>
                <a:cxn ang="0">
                  <a:pos x="172" y="41"/>
                </a:cxn>
                <a:cxn ang="0">
                  <a:pos x="130" y="30"/>
                </a:cxn>
                <a:cxn ang="0">
                  <a:pos x="87" y="39"/>
                </a:cxn>
                <a:cxn ang="0">
                  <a:pos x="57" y="67"/>
                </a:cxn>
                <a:cxn ang="0">
                  <a:pos x="41" y="105"/>
                </a:cxn>
                <a:cxn ang="0">
                  <a:pos x="35" y="150"/>
                </a:cxn>
                <a:cxn ang="0">
                  <a:pos x="41" y="192"/>
                </a:cxn>
                <a:cxn ang="0">
                  <a:pos x="57" y="228"/>
                </a:cxn>
                <a:cxn ang="0">
                  <a:pos x="88" y="253"/>
                </a:cxn>
                <a:cxn ang="0">
                  <a:pos x="130" y="263"/>
                </a:cxn>
                <a:cxn ang="0">
                  <a:pos x="175" y="250"/>
                </a:cxn>
                <a:cxn ang="0">
                  <a:pos x="206" y="218"/>
                </a:cxn>
                <a:cxn ang="0">
                  <a:pos x="221" y="174"/>
                </a:cxn>
              </a:cxnLst>
              <a:rect l="0" t="0" r="r" b="b"/>
              <a:pathLst>
                <a:path w="257" h="411">
                  <a:moveTo>
                    <a:pt x="257" y="273"/>
                  </a:moveTo>
                  <a:lnTo>
                    <a:pt x="256" y="303"/>
                  </a:lnTo>
                  <a:lnTo>
                    <a:pt x="250" y="331"/>
                  </a:lnTo>
                  <a:lnTo>
                    <a:pt x="242" y="355"/>
                  </a:lnTo>
                  <a:lnTo>
                    <a:pt x="229" y="375"/>
                  </a:lnTo>
                  <a:lnTo>
                    <a:pt x="211" y="390"/>
                  </a:lnTo>
                  <a:lnTo>
                    <a:pt x="189" y="401"/>
                  </a:lnTo>
                  <a:lnTo>
                    <a:pt x="162" y="408"/>
                  </a:lnTo>
                  <a:lnTo>
                    <a:pt x="130" y="411"/>
                  </a:lnTo>
                  <a:lnTo>
                    <a:pt x="105" y="410"/>
                  </a:lnTo>
                  <a:lnTo>
                    <a:pt x="81" y="404"/>
                  </a:lnTo>
                  <a:lnTo>
                    <a:pt x="60" y="396"/>
                  </a:lnTo>
                  <a:lnTo>
                    <a:pt x="41" y="384"/>
                  </a:lnTo>
                  <a:lnTo>
                    <a:pt x="25" y="369"/>
                  </a:lnTo>
                  <a:lnTo>
                    <a:pt x="16" y="348"/>
                  </a:lnTo>
                  <a:lnTo>
                    <a:pt x="10" y="324"/>
                  </a:lnTo>
                  <a:lnTo>
                    <a:pt x="45" y="324"/>
                  </a:lnTo>
                  <a:lnTo>
                    <a:pt x="52" y="343"/>
                  </a:lnTo>
                  <a:lnTo>
                    <a:pt x="62" y="358"/>
                  </a:lnTo>
                  <a:lnTo>
                    <a:pt x="76" y="369"/>
                  </a:lnTo>
                  <a:lnTo>
                    <a:pt x="92" y="376"/>
                  </a:lnTo>
                  <a:lnTo>
                    <a:pt x="111" y="380"/>
                  </a:lnTo>
                  <a:lnTo>
                    <a:pt x="130" y="382"/>
                  </a:lnTo>
                  <a:lnTo>
                    <a:pt x="155" y="379"/>
                  </a:lnTo>
                  <a:lnTo>
                    <a:pt x="176" y="372"/>
                  </a:lnTo>
                  <a:lnTo>
                    <a:pt x="193" y="361"/>
                  </a:lnTo>
                  <a:lnTo>
                    <a:pt x="207" y="345"/>
                  </a:lnTo>
                  <a:lnTo>
                    <a:pt x="215" y="324"/>
                  </a:lnTo>
                  <a:lnTo>
                    <a:pt x="221" y="301"/>
                  </a:lnTo>
                  <a:lnTo>
                    <a:pt x="222" y="273"/>
                  </a:lnTo>
                  <a:lnTo>
                    <a:pt x="222" y="234"/>
                  </a:lnTo>
                  <a:lnTo>
                    <a:pt x="221" y="234"/>
                  </a:lnTo>
                  <a:lnTo>
                    <a:pt x="208" y="253"/>
                  </a:lnTo>
                  <a:lnTo>
                    <a:pt x="193" y="270"/>
                  </a:lnTo>
                  <a:lnTo>
                    <a:pt x="175" y="281"/>
                  </a:lnTo>
                  <a:lnTo>
                    <a:pt x="154" y="290"/>
                  </a:lnTo>
                  <a:lnTo>
                    <a:pt x="130" y="292"/>
                  </a:lnTo>
                  <a:lnTo>
                    <a:pt x="101" y="290"/>
                  </a:lnTo>
                  <a:lnTo>
                    <a:pt x="77" y="283"/>
                  </a:lnTo>
                  <a:lnTo>
                    <a:pt x="56" y="273"/>
                  </a:lnTo>
                  <a:lnTo>
                    <a:pt x="38" y="257"/>
                  </a:lnTo>
                  <a:lnTo>
                    <a:pt x="24" y="241"/>
                  </a:lnTo>
                  <a:lnTo>
                    <a:pt x="13" y="220"/>
                  </a:lnTo>
                  <a:lnTo>
                    <a:pt x="6" y="197"/>
                  </a:lnTo>
                  <a:lnTo>
                    <a:pt x="2" y="172"/>
                  </a:lnTo>
                  <a:lnTo>
                    <a:pt x="0" y="146"/>
                  </a:lnTo>
                  <a:lnTo>
                    <a:pt x="3" y="116"/>
                  </a:lnTo>
                  <a:lnTo>
                    <a:pt x="9" y="90"/>
                  </a:lnTo>
                  <a:lnTo>
                    <a:pt x="20" y="65"/>
                  </a:lnTo>
                  <a:lnTo>
                    <a:pt x="34" y="44"/>
                  </a:lnTo>
                  <a:lnTo>
                    <a:pt x="52" y="26"/>
                  </a:lnTo>
                  <a:lnTo>
                    <a:pt x="74" y="12"/>
                  </a:lnTo>
                  <a:lnTo>
                    <a:pt x="101" y="3"/>
                  </a:lnTo>
                  <a:lnTo>
                    <a:pt x="130" y="0"/>
                  </a:lnTo>
                  <a:lnTo>
                    <a:pt x="154" y="3"/>
                  </a:lnTo>
                  <a:lnTo>
                    <a:pt x="176" y="12"/>
                  </a:lnTo>
                  <a:lnTo>
                    <a:pt x="194" y="24"/>
                  </a:lnTo>
                  <a:lnTo>
                    <a:pt x="210" y="39"/>
                  </a:lnTo>
                  <a:lnTo>
                    <a:pt x="221" y="58"/>
                  </a:lnTo>
                  <a:lnTo>
                    <a:pt x="222" y="58"/>
                  </a:lnTo>
                  <a:lnTo>
                    <a:pt x="222" y="9"/>
                  </a:lnTo>
                  <a:lnTo>
                    <a:pt x="257" y="9"/>
                  </a:lnTo>
                  <a:lnTo>
                    <a:pt x="257" y="273"/>
                  </a:lnTo>
                  <a:close/>
                  <a:moveTo>
                    <a:pt x="222" y="150"/>
                  </a:moveTo>
                  <a:lnTo>
                    <a:pt x="221" y="129"/>
                  </a:lnTo>
                  <a:lnTo>
                    <a:pt x="217" y="107"/>
                  </a:lnTo>
                  <a:lnTo>
                    <a:pt x="211" y="87"/>
                  </a:lnTo>
                  <a:lnTo>
                    <a:pt x="201" y="69"/>
                  </a:lnTo>
                  <a:lnTo>
                    <a:pt x="189" y="52"/>
                  </a:lnTo>
                  <a:lnTo>
                    <a:pt x="172" y="41"/>
                  </a:lnTo>
                  <a:lnTo>
                    <a:pt x="152" y="32"/>
                  </a:lnTo>
                  <a:lnTo>
                    <a:pt x="130" y="30"/>
                  </a:lnTo>
                  <a:lnTo>
                    <a:pt x="106" y="32"/>
                  </a:lnTo>
                  <a:lnTo>
                    <a:pt x="87" y="39"/>
                  </a:lnTo>
                  <a:lnTo>
                    <a:pt x="70" y="52"/>
                  </a:lnTo>
                  <a:lnTo>
                    <a:pt x="57" y="67"/>
                  </a:lnTo>
                  <a:lnTo>
                    <a:pt x="48" y="86"/>
                  </a:lnTo>
                  <a:lnTo>
                    <a:pt x="41" y="105"/>
                  </a:lnTo>
                  <a:lnTo>
                    <a:pt x="37" y="127"/>
                  </a:lnTo>
                  <a:lnTo>
                    <a:pt x="35" y="150"/>
                  </a:lnTo>
                  <a:lnTo>
                    <a:pt x="37" y="171"/>
                  </a:lnTo>
                  <a:lnTo>
                    <a:pt x="41" y="192"/>
                  </a:lnTo>
                  <a:lnTo>
                    <a:pt x="48" y="211"/>
                  </a:lnTo>
                  <a:lnTo>
                    <a:pt x="57" y="228"/>
                  </a:lnTo>
                  <a:lnTo>
                    <a:pt x="71" y="242"/>
                  </a:lnTo>
                  <a:lnTo>
                    <a:pt x="88" y="253"/>
                  </a:lnTo>
                  <a:lnTo>
                    <a:pt x="108" y="260"/>
                  </a:lnTo>
                  <a:lnTo>
                    <a:pt x="130" y="263"/>
                  </a:lnTo>
                  <a:lnTo>
                    <a:pt x="154" y="260"/>
                  </a:lnTo>
                  <a:lnTo>
                    <a:pt x="175" y="250"/>
                  </a:lnTo>
                  <a:lnTo>
                    <a:pt x="192" y="236"/>
                  </a:lnTo>
                  <a:lnTo>
                    <a:pt x="206" y="218"/>
                  </a:lnTo>
                  <a:lnTo>
                    <a:pt x="214" y="197"/>
                  </a:lnTo>
                  <a:lnTo>
                    <a:pt x="221" y="174"/>
                  </a:lnTo>
                  <a:lnTo>
                    <a:pt x="222" y="15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229852" y="6557123"/>
            <a:ext cx="1487488" cy="298800"/>
          </a:xfrm>
          <a:prstGeom prst="rect">
            <a:avLst/>
          </a:prstGeom>
          <a:noFill/>
        </p:spPr>
        <p:txBody>
          <a:bodyPr wrap="none" lIns="36000" tIns="36000" rIns="36000" bIns="36000" rtlCol="0" anchor="ctr">
            <a:noAutofit/>
          </a:bodyPr>
          <a:lstStyle/>
          <a:p>
            <a:pPr algn="l"/>
            <a:r>
              <a:rPr lang="en-AU" sz="700" b="0" cap="all" baseline="0" dirty="0">
                <a:solidFill>
                  <a:schemeClr val="bg1"/>
                </a:solidFill>
              </a:rPr>
              <a:t>STRICTLY CONFIDENTIAL</a:t>
            </a:r>
          </a:p>
        </p:txBody>
      </p:sp>
      <p:cxnSp>
        <p:nvCxnSpPr>
          <p:cNvPr id="73" name="Straight Connector 72"/>
          <p:cNvCxnSpPr/>
          <p:nvPr userDrawn="1"/>
        </p:nvCxnSpPr>
        <p:spPr bwMode="auto">
          <a:xfrm>
            <a:off x="0" y="6555600"/>
            <a:ext cx="1219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4" name="Straight Connector 73"/>
          <p:cNvCxnSpPr/>
          <p:nvPr userDrawn="1"/>
        </p:nvCxnSpPr>
        <p:spPr bwMode="auto">
          <a:xfrm>
            <a:off x="0" y="6555600"/>
            <a:ext cx="1219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Straight Connector 24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 flipH="1">
            <a:off x="778890" y="4714875"/>
            <a:ext cx="10691818" cy="0"/>
          </a:xfrm>
          <a:prstGeom prst="line">
            <a:avLst/>
          </a:prstGeom>
          <a:noFill/>
          <a:ln w="9525" algn="ctr">
            <a:solidFill>
              <a:srgbClr val="B9840F"/>
            </a:solidFill>
            <a:round/>
            <a:headEnd/>
            <a:tailEnd/>
          </a:ln>
        </p:spPr>
      </p:cxnSp>
      <p:graphicFrame>
        <p:nvGraphicFramePr>
          <p:cNvPr id="77" name="Tabela 7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2780412222"/>
              </p:ext>
            </p:extLst>
          </p:nvPr>
        </p:nvGraphicFramePr>
        <p:xfrm>
          <a:off x="-1877836" y="222241"/>
          <a:ext cx="1440000" cy="612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60000">
                <a:tc gridSpan="4">
                  <a:txBody>
                    <a:bodyPr/>
                    <a:lstStyle/>
                    <a:p>
                      <a:pPr algn="ctr"/>
                      <a:r>
                        <a:rPr lang="pt-BR" sz="1000" dirty="0" err="1"/>
                        <a:t>Colour</a:t>
                      </a:r>
                      <a:r>
                        <a:rPr lang="pt-BR" sz="1000" dirty="0"/>
                        <a:t> </a:t>
                      </a:r>
                      <a:r>
                        <a:rPr lang="pt-BR" sz="1000" dirty="0" err="1"/>
                        <a:t>Pallete</a:t>
                      </a:r>
                      <a:endParaRPr lang="en-GB" sz="1000" dirty="0"/>
                    </a:p>
                  </a:txBody>
                  <a:tcPr anchor="ctr">
                    <a:lnB w="12700" cmpd="sng"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R</a:t>
                      </a:r>
                      <a:endParaRPr lang="en-GB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G</a:t>
                      </a:r>
                      <a:endParaRPr lang="en-GB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B</a:t>
                      </a:r>
                      <a:endParaRPr lang="en-GB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573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9</a:t>
                      </a:r>
                      <a:endParaRPr lang="en-GB" sz="8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87</a:t>
                      </a:r>
                      <a:endParaRPr lang="en-GB" sz="8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53</a:t>
                      </a:r>
                      <a:endParaRPr lang="en-GB" sz="8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137B5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</a:t>
                      </a:r>
                      <a:endParaRPr lang="en-GB" sz="800" dirty="0"/>
                    </a:p>
                  </a:txBody>
                  <a:tcPr anchor="ctr"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23</a:t>
                      </a:r>
                      <a:endParaRPr lang="en-GB" sz="800" dirty="0"/>
                    </a:p>
                  </a:txBody>
                  <a:tcPr anchor="ctr"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86</a:t>
                      </a:r>
                      <a:endParaRPr lang="en-GB" sz="800" dirty="0"/>
                    </a:p>
                  </a:txBody>
                  <a:tcPr anchor="ctr">
                    <a:lnT w="12700" cmpd="sng">
                      <a:noFill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5B877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9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3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14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9BBBA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5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87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72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AE951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74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49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4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A69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6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3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8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E28C0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2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4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E2D8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2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1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7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0D2B5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4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8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4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17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82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78ADD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2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7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2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C0D5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2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1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4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18171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4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9E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58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537060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ection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6"/>
          <p:cNvGrpSpPr/>
          <p:nvPr/>
        </p:nvGrpSpPr>
        <p:grpSpPr>
          <a:xfrm>
            <a:off x="10754208" y="6654523"/>
            <a:ext cx="1148500" cy="104000"/>
            <a:chOff x="8756844" y="6671575"/>
            <a:chExt cx="933156" cy="104000"/>
          </a:xfrm>
        </p:grpSpPr>
        <p:sp>
          <p:nvSpPr>
            <p:cNvPr id="39" name="Freeform 9"/>
            <p:cNvSpPr>
              <a:spLocks/>
            </p:cNvSpPr>
            <p:nvPr/>
          </p:nvSpPr>
          <p:spPr bwMode="auto">
            <a:xfrm>
              <a:off x="8756844" y="6692294"/>
              <a:ext cx="43875" cy="601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17" y="0"/>
                </a:cxn>
                <a:cxn ang="0">
                  <a:pos x="217" y="61"/>
                </a:cxn>
                <a:cxn ang="0">
                  <a:pos x="77" y="61"/>
                </a:cxn>
                <a:cxn ang="0">
                  <a:pos x="77" y="121"/>
                </a:cxn>
                <a:cxn ang="0">
                  <a:pos x="199" y="121"/>
                </a:cxn>
                <a:cxn ang="0">
                  <a:pos x="199" y="181"/>
                </a:cxn>
                <a:cxn ang="0">
                  <a:pos x="77" y="181"/>
                </a:cxn>
                <a:cxn ang="0">
                  <a:pos x="77" y="294"/>
                </a:cxn>
                <a:cxn ang="0">
                  <a:pos x="0" y="294"/>
                </a:cxn>
                <a:cxn ang="0">
                  <a:pos x="0" y="0"/>
                </a:cxn>
              </a:cxnLst>
              <a:rect l="0" t="0" r="r" b="b"/>
              <a:pathLst>
                <a:path w="217" h="294">
                  <a:moveTo>
                    <a:pt x="0" y="0"/>
                  </a:moveTo>
                  <a:lnTo>
                    <a:pt x="217" y="0"/>
                  </a:lnTo>
                  <a:lnTo>
                    <a:pt x="217" y="61"/>
                  </a:lnTo>
                  <a:lnTo>
                    <a:pt x="77" y="61"/>
                  </a:lnTo>
                  <a:lnTo>
                    <a:pt x="77" y="121"/>
                  </a:lnTo>
                  <a:lnTo>
                    <a:pt x="199" y="121"/>
                  </a:lnTo>
                  <a:lnTo>
                    <a:pt x="199" y="181"/>
                  </a:lnTo>
                  <a:lnTo>
                    <a:pt x="77" y="181"/>
                  </a:lnTo>
                  <a:lnTo>
                    <a:pt x="77" y="294"/>
                  </a:lnTo>
                  <a:lnTo>
                    <a:pt x="0" y="2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41" name="Freeform 10"/>
            <p:cNvSpPr>
              <a:spLocks noEditPoints="1"/>
            </p:cNvSpPr>
            <p:nvPr/>
          </p:nvSpPr>
          <p:spPr bwMode="auto">
            <a:xfrm>
              <a:off x="8809250" y="6691482"/>
              <a:ext cx="58906" cy="62156"/>
            </a:xfrm>
            <a:custGeom>
              <a:avLst/>
              <a:gdLst/>
              <a:ahLst/>
              <a:cxnLst>
                <a:cxn ang="0">
                  <a:pos x="145" y="0"/>
                </a:cxn>
                <a:cxn ang="0">
                  <a:pos x="179" y="3"/>
                </a:cxn>
                <a:cxn ang="0">
                  <a:pos x="208" y="13"/>
                </a:cxn>
                <a:cxn ang="0">
                  <a:pos x="232" y="27"/>
                </a:cxn>
                <a:cxn ang="0">
                  <a:pos x="253" y="45"/>
                </a:cxn>
                <a:cxn ang="0">
                  <a:pos x="270" y="67"/>
                </a:cxn>
                <a:cxn ang="0">
                  <a:pos x="281" y="94"/>
                </a:cxn>
                <a:cxn ang="0">
                  <a:pos x="288" y="123"/>
                </a:cxn>
                <a:cxn ang="0">
                  <a:pos x="291" y="154"/>
                </a:cxn>
                <a:cxn ang="0">
                  <a:pos x="288" y="185"/>
                </a:cxn>
                <a:cxn ang="0">
                  <a:pos x="281" y="214"/>
                </a:cxn>
                <a:cxn ang="0">
                  <a:pos x="270" y="239"/>
                </a:cxn>
                <a:cxn ang="0">
                  <a:pos x="253" y="261"/>
                </a:cxn>
                <a:cxn ang="0">
                  <a:pos x="232" y="281"/>
                </a:cxn>
                <a:cxn ang="0">
                  <a:pos x="208" y="295"/>
                </a:cxn>
                <a:cxn ang="0">
                  <a:pos x="179" y="303"/>
                </a:cxn>
                <a:cxn ang="0">
                  <a:pos x="145" y="306"/>
                </a:cxn>
                <a:cxn ang="0">
                  <a:pos x="113" y="303"/>
                </a:cxn>
                <a:cxn ang="0">
                  <a:pos x="84" y="295"/>
                </a:cxn>
                <a:cxn ang="0">
                  <a:pos x="59" y="281"/>
                </a:cxn>
                <a:cxn ang="0">
                  <a:pos x="38" y="261"/>
                </a:cxn>
                <a:cxn ang="0">
                  <a:pos x="23" y="239"/>
                </a:cxn>
                <a:cxn ang="0">
                  <a:pos x="10" y="214"/>
                </a:cxn>
                <a:cxn ang="0">
                  <a:pos x="3" y="185"/>
                </a:cxn>
                <a:cxn ang="0">
                  <a:pos x="0" y="154"/>
                </a:cxn>
                <a:cxn ang="0">
                  <a:pos x="3" y="123"/>
                </a:cxn>
                <a:cxn ang="0">
                  <a:pos x="10" y="94"/>
                </a:cxn>
                <a:cxn ang="0">
                  <a:pos x="23" y="67"/>
                </a:cxn>
                <a:cxn ang="0">
                  <a:pos x="38" y="45"/>
                </a:cxn>
                <a:cxn ang="0">
                  <a:pos x="59" y="27"/>
                </a:cxn>
                <a:cxn ang="0">
                  <a:pos x="84" y="13"/>
                </a:cxn>
                <a:cxn ang="0">
                  <a:pos x="113" y="3"/>
                </a:cxn>
                <a:cxn ang="0">
                  <a:pos x="145" y="0"/>
                </a:cxn>
                <a:cxn ang="0">
                  <a:pos x="145" y="240"/>
                </a:cxn>
                <a:cxn ang="0">
                  <a:pos x="165" y="238"/>
                </a:cxn>
                <a:cxn ang="0">
                  <a:pos x="180" y="231"/>
                </a:cxn>
                <a:cxn ang="0">
                  <a:pos x="193" y="219"/>
                </a:cxn>
                <a:cxn ang="0">
                  <a:pos x="203" y="206"/>
                </a:cxn>
                <a:cxn ang="0">
                  <a:pos x="210" y="190"/>
                </a:cxn>
                <a:cxn ang="0">
                  <a:pos x="213" y="172"/>
                </a:cxn>
                <a:cxn ang="0">
                  <a:pos x="214" y="154"/>
                </a:cxn>
                <a:cxn ang="0">
                  <a:pos x="213" y="134"/>
                </a:cxn>
                <a:cxn ang="0">
                  <a:pos x="210" y="118"/>
                </a:cxn>
                <a:cxn ang="0">
                  <a:pos x="203" y="101"/>
                </a:cxn>
                <a:cxn ang="0">
                  <a:pos x="193" y="87"/>
                </a:cxn>
                <a:cxn ang="0">
                  <a:pos x="180" y="76"/>
                </a:cxn>
                <a:cxn ang="0">
                  <a:pos x="165" y="69"/>
                </a:cxn>
                <a:cxn ang="0">
                  <a:pos x="145" y="66"/>
                </a:cxn>
                <a:cxn ang="0">
                  <a:pos x="126" y="69"/>
                </a:cxn>
                <a:cxn ang="0">
                  <a:pos x="111" y="76"/>
                </a:cxn>
                <a:cxn ang="0">
                  <a:pos x="98" y="87"/>
                </a:cxn>
                <a:cxn ang="0">
                  <a:pos x="88" y="101"/>
                </a:cxn>
                <a:cxn ang="0">
                  <a:pos x="83" y="118"/>
                </a:cxn>
                <a:cxn ang="0">
                  <a:pos x="78" y="134"/>
                </a:cxn>
                <a:cxn ang="0">
                  <a:pos x="77" y="154"/>
                </a:cxn>
                <a:cxn ang="0">
                  <a:pos x="78" y="172"/>
                </a:cxn>
                <a:cxn ang="0">
                  <a:pos x="83" y="190"/>
                </a:cxn>
                <a:cxn ang="0">
                  <a:pos x="88" y="206"/>
                </a:cxn>
                <a:cxn ang="0">
                  <a:pos x="98" y="219"/>
                </a:cxn>
                <a:cxn ang="0">
                  <a:pos x="111" y="231"/>
                </a:cxn>
                <a:cxn ang="0">
                  <a:pos x="126" y="238"/>
                </a:cxn>
                <a:cxn ang="0">
                  <a:pos x="145" y="240"/>
                </a:cxn>
              </a:cxnLst>
              <a:rect l="0" t="0" r="r" b="b"/>
              <a:pathLst>
                <a:path w="291" h="306">
                  <a:moveTo>
                    <a:pt x="145" y="0"/>
                  </a:moveTo>
                  <a:lnTo>
                    <a:pt x="179" y="3"/>
                  </a:lnTo>
                  <a:lnTo>
                    <a:pt x="208" y="13"/>
                  </a:lnTo>
                  <a:lnTo>
                    <a:pt x="232" y="27"/>
                  </a:lnTo>
                  <a:lnTo>
                    <a:pt x="253" y="45"/>
                  </a:lnTo>
                  <a:lnTo>
                    <a:pt x="270" y="67"/>
                  </a:lnTo>
                  <a:lnTo>
                    <a:pt x="281" y="94"/>
                  </a:lnTo>
                  <a:lnTo>
                    <a:pt x="288" y="123"/>
                  </a:lnTo>
                  <a:lnTo>
                    <a:pt x="291" y="154"/>
                  </a:lnTo>
                  <a:lnTo>
                    <a:pt x="288" y="185"/>
                  </a:lnTo>
                  <a:lnTo>
                    <a:pt x="281" y="214"/>
                  </a:lnTo>
                  <a:lnTo>
                    <a:pt x="270" y="239"/>
                  </a:lnTo>
                  <a:lnTo>
                    <a:pt x="253" y="261"/>
                  </a:lnTo>
                  <a:lnTo>
                    <a:pt x="232" y="281"/>
                  </a:lnTo>
                  <a:lnTo>
                    <a:pt x="208" y="295"/>
                  </a:lnTo>
                  <a:lnTo>
                    <a:pt x="179" y="303"/>
                  </a:lnTo>
                  <a:lnTo>
                    <a:pt x="145" y="306"/>
                  </a:lnTo>
                  <a:lnTo>
                    <a:pt x="113" y="303"/>
                  </a:lnTo>
                  <a:lnTo>
                    <a:pt x="84" y="295"/>
                  </a:lnTo>
                  <a:lnTo>
                    <a:pt x="59" y="281"/>
                  </a:lnTo>
                  <a:lnTo>
                    <a:pt x="38" y="261"/>
                  </a:lnTo>
                  <a:lnTo>
                    <a:pt x="23" y="239"/>
                  </a:lnTo>
                  <a:lnTo>
                    <a:pt x="10" y="214"/>
                  </a:lnTo>
                  <a:lnTo>
                    <a:pt x="3" y="185"/>
                  </a:lnTo>
                  <a:lnTo>
                    <a:pt x="0" y="154"/>
                  </a:lnTo>
                  <a:lnTo>
                    <a:pt x="3" y="123"/>
                  </a:lnTo>
                  <a:lnTo>
                    <a:pt x="10" y="94"/>
                  </a:lnTo>
                  <a:lnTo>
                    <a:pt x="23" y="67"/>
                  </a:lnTo>
                  <a:lnTo>
                    <a:pt x="38" y="45"/>
                  </a:lnTo>
                  <a:lnTo>
                    <a:pt x="59" y="27"/>
                  </a:lnTo>
                  <a:lnTo>
                    <a:pt x="84" y="13"/>
                  </a:lnTo>
                  <a:lnTo>
                    <a:pt x="113" y="3"/>
                  </a:lnTo>
                  <a:lnTo>
                    <a:pt x="145" y="0"/>
                  </a:lnTo>
                  <a:close/>
                  <a:moveTo>
                    <a:pt x="145" y="240"/>
                  </a:moveTo>
                  <a:lnTo>
                    <a:pt x="165" y="238"/>
                  </a:lnTo>
                  <a:lnTo>
                    <a:pt x="180" y="231"/>
                  </a:lnTo>
                  <a:lnTo>
                    <a:pt x="193" y="219"/>
                  </a:lnTo>
                  <a:lnTo>
                    <a:pt x="203" y="206"/>
                  </a:lnTo>
                  <a:lnTo>
                    <a:pt x="210" y="190"/>
                  </a:lnTo>
                  <a:lnTo>
                    <a:pt x="213" y="172"/>
                  </a:lnTo>
                  <a:lnTo>
                    <a:pt x="214" y="154"/>
                  </a:lnTo>
                  <a:lnTo>
                    <a:pt x="213" y="134"/>
                  </a:lnTo>
                  <a:lnTo>
                    <a:pt x="210" y="118"/>
                  </a:lnTo>
                  <a:lnTo>
                    <a:pt x="203" y="101"/>
                  </a:lnTo>
                  <a:lnTo>
                    <a:pt x="193" y="87"/>
                  </a:lnTo>
                  <a:lnTo>
                    <a:pt x="180" y="76"/>
                  </a:lnTo>
                  <a:lnTo>
                    <a:pt x="165" y="69"/>
                  </a:lnTo>
                  <a:lnTo>
                    <a:pt x="145" y="66"/>
                  </a:lnTo>
                  <a:lnTo>
                    <a:pt x="126" y="69"/>
                  </a:lnTo>
                  <a:lnTo>
                    <a:pt x="111" y="76"/>
                  </a:lnTo>
                  <a:lnTo>
                    <a:pt x="98" y="87"/>
                  </a:lnTo>
                  <a:lnTo>
                    <a:pt x="88" y="101"/>
                  </a:lnTo>
                  <a:lnTo>
                    <a:pt x="83" y="118"/>
                  </a:lnTo>
                  <a:lnTo>
                    <a:pt x="78" y="134"/>
                  </a:lnTo>
                  <a:lnTo>
                    <a:pt x="77" y="154"/>
                  </a:lnTo>
                  <a:lnTo>
                    <a:pt x="78" y="172"/>
                  </a:lnTo>
                  <a:lnTo>
                    <a:pt x="83" y="190"/>
                  </a:lnTo>
                  <a:lnTo>
                    <a:pt x="88" y="206"/>
                  </a:lnTo>
                  <a:lnTo>
                    <a:pt x="98" y="219"/>
                  </a:lnTo>
                  <a:lnTo>
                    <a:pt x="111" y="231"/>
                  </a:lnTo>
                  <a:lnTo>
                    <a:pt x="126" y="238"/>
                  </a:lnTo>
                  <a:lnTo>
                    <a:pt x="145" y="24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42" name="Freeform 11"/>
            <p:cNvSpPr>
              <a:spLocks noEditPoints="1"/>
            </p:cNvSpPr>
            <p:nvPr/>
          </p:nvSpPr>
          <p:spPr bwMode="auto">
            <a:xfrm>
              <a:off x="8879937" y="6692294"/>
              <a:ext cx="53219" cy="601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0" y="0"/>
                </a:cxn>
                <a:cxn ang="0">
                  <a:pos x="172" y="1"/>
                </a:cxn>
                <a:cxn ang="0">
                  <a:pos x="193" y="5"/>
                </a:cxn>
                <a:cxn ang="0">
                  <a:pos x="213" y="14"/>
                </a:cxn>
                <a:cxn ang="0">
                  <a:pos x="229" y="25"/>
                </a:cxn>
                <a:cxn ang="0">
                  <a:pos x="242" y="40"/>
                </a:cxn>
                <a:cxn ang="0">
                  <a:pos x="250" y="60"/>
                </a:cxn>
                <a:cxn ang="0">
                  <a:pos x="253" y="84"/>
                </a:cxn>
                <a:cxn ang="0">
                  <a:pos x="252" y="102"/>
                </a:cxn>
                <a:cxn ang="0">
                  <a:pos x="246" y="120"/>
                </a:cxn>
                <a:cxn ang="0">
                  <a:pos x="236" y="135"/>
                </a:cxn>
                <a:cxn ang="0">
                  <a:pos x="224" y="148"/>
                </a:cxn>
                <a:cxn ang="0">
                  <a:pos x="207" y="156"/>
                </a:cxn>
                <a:cxn ang="0">
                  <a:pos x="207" y="158"/>
                </a:cxn>
                <a:cxn ang="0">
                  <a:pos x="221" y="163"/>
                </a:cxn>
                <a:cxn ang="0">
                  <a:pos x="231" y="173"/>
                </a:cxn>
                <a:cxn ang="0">
                  <a:pos x="239" y="184"/>
                </a:cxn>
                <a:cxn ang="0">
                  <a:pos x="245" y="198"/>
                </a:cxn>
                <a:cxn ang="0">
                  <a:pos x="248" y="213"/>
                </a:cxn>
                <a:cxn ang="0">
                  <a:pos x="249" y="227"/>
                </a:cxn>
                <a:cxn ang="0">
                  <a:pos x="250" y="239"/>
                </a:cxn>
                <a:cxn ang="0">
                  <a:pos x="252" y="253"/>
                </a:cxn>
                <a:cxn ang="0">
                  <a:pos x="253" y="269"/>
                </a:cxn>
                <a:cxn ang="0">
                  <a:pos x="256" y="285"/>
                </a:cxn>
                <a:cxn ang="0">
                  <a:pos x="262" y="294"/>
                </a:cxn>
                <a:cxn ang="0">
                  <a:pos x="186" y="294"/>
                </a:cxn>
                <a:cxn ang="0">
                  <a:pos x="182" y="285"/>
                </a:cxn>
                <a:cxn ang="0">
                  <a:pos x="179" y="271"/>
                </a:cxn>
                <a:cxn ang="0">
                  <a:pos x="178" y="257"/>
                </a:cxn>
                <a:cxn ang="0">
                  <a:pos x="178" y="247"/>
                </a:cxn>
                <a:cxn ang="0">
                  <a:pos x="176" y="233"/>
                </a:cxn>
                <a:cxn ang="0">
                  <a:pos x="174" y="219"/>
                </a:cxn>
                <a:cxn ang="0">
                  <a:pos x="168" y="206"/>
                </a:cxn>
                <a:cxn ang="0">
                  <a:pos x="161" y="195"/>
                </a:cxn>
                <a:cxn ang="0">
                  <a:pos x="150" y="190"/>
                </a:cxn>
                <a:cxn ang="0">
                  <a:pos x="134" y="187"/>
                </a:cxn>
                <a:cxn ang="0">
                  <a:pos x="76" y="187"/>
                </a:cxn>
                <a:cxn ang="0">
                  <a:pos x="76" y="294"/>
                </a:cxn>
                <a:cxn ang="0">
                  <a:pos x="0" y="294"/>
                </a:cxn>
                <a:cxn ang="0">
                  <a:pos x="0" y="0"/>
                </a:cxn>
                <a:cxn ang="0">
                  <a:pos x="76" y="128"/>
                </a:cxn>
                <a:cxn ang="0">
                  <a:pos x="141" y="128"/>
                </a:cxn>
                <a:cxn ang="0">
                  <a:pos x="157" y="125"/>
                </a:cxn>
                <a:cxn ang="0">
                  <a:pos x="167" y="118"/>
                </a:cxn>
                <a:cxn ang="0">
                  <a:pos x="174" y="109"/>
                </a:cxn>
                <a:cxn ang="0">
                  <a:pos x="176" y="93"/>
                </a:cxn>
                <a:cxn ang="0">
                  <a:pos x="175" y="81"/>
                </a:cxn>
                <a:cxn ang="0">
                  <a:pos x="168" y="72"/>
                </a:cxn>
                <a:cxn ang="0">
                  <a:pos x="160" y="65"/>
                </a:cxn>
                <a:cxn ang="0">
                  <a:pos x="150" y="63"/>
                </a:cxn>
                <a:cxn ang="0">
                  <a:pos x="137" y="61"/>
                </a:cxn>
                <a:cxn ang="0">
                  <a:pos x="76" y="61"/>
                </a:cxn>
                <a:cxn ang="0">
                  <a:pos x="76" y="128"/>
                </a:cxn>
              </a:cxnLst>
              <a:rect l="0" t="0" r="r" b="b"/>
              <a:pathLst>
                <a:path w="262" h="294">
                  <a:moveTo>
                    <a:pt x="0" y="0"/>
                  </a:moveTo>
                  <a:lnTo>
                    <a:pt x="150" y="0"/>
                  </a:lnTo>
                  <a:lnTo>
                    <a:pt x="172" y="1"/>
                  </a:lnTo>
                  <a:lnTo>
                    <a:pt x="193" y="5"/>
                  </a:lnTo>
                  <a:lnTo>
                    <a:pt x="213" y="14"/>
                  </a:lnTo>
                  <a:lnTo>
                    <a:pt x="229" y="25"/>
                  </a:lnTo>
                  <a:lnTo>
                    <a:pt x="242" y="40"/>
                  </a:lnTo>
                  <a:lnTo>
                    <a:pt x="250" y="60"/>
                  </a:lnTo>
                  <a:lnTo>
                    <a:pt x="253" y="84"/>
                  </a:lnTo>
                  <a:lnTo>
                    <a:pt x="252" y="102"/>
                  </a:lnTo>
                  <a:lnTo>
                    <a:pt x="246" y="120"/>
                  </a:lnTo>
                  <a:lnTo>
                    <a:pt x="236" y="135"/>
                  </a:lnTo>
                  <a:lnTo>
                    <a:pt x="224" y="148"/>
                  </a:lnTo>
                  <a:lnTo>
                    <a:pt x="207" y="156"/>
                  </a:lnTo>
                  <a:lnTo>
                    <a:pt x="207" y="158"/>
                  </a:lnTo>
                  <a:lnTo>
                    <a:pt x="221" y="163"/>
                  </a:lnTo>
                  <a:lnTo>
                    <a:pt x="231" y="173"/>
                  </a:lnTo>
                  <a:lnTo>
                    <a:pt x="239" y="184"/>
                  </a:lnTo>
                  <a:lnTo>
                    <a:pt x="245" y="198"/>
                  </a:lnTo>
                  <a:lnTo>
                    <a:pt x="248" y="213"/>
                  </a:lnTo>
                  <a:lnTo>
                    <a:pt x="249" y="227"/>
                  </a:lnTo>
                  <a:lnTo>
                    <a:pt x="250" y="239"/>
                  </a:lnTo>
                  <a:lnTo>
                    <a:pt x="252" y="253"/>
                  </a:lnTo>
                  <a:lnTo>
                    <a:pt x="253" y="269"/>
                  </a:lnTo>
                  <a:lnTo>
                    <a:pt x="256" y="285"/>
                  </a:lnTo>
                  <a:lnTo>
                    <a:pt x="262" y="294"/>
                  </a:lnTo>
                  <a:lnTo>
                    <a:pt x="186" y="294"/>
                  </a:lnTo>
                  <a:lnTo>
                    <a:pt x="182" y="285"/>
                  </a:lnTo>
                  <a:lnTo>
                    <a:pt x="179" y="271"/>
                  </a:lnTo>
                  <a:lnTo>
                    <a:pt x="178" y="257"/>
                  </a:lnTo>
                  <a:lnTo>
                    <a:pt x="178" y="247"/>
                  </a:lnTo>
                  <a:lnTo>
                    <a:pt x="176" y="233"/>
                  </a:lnTo>
                  <a:lnTo>
                    <a:pt x="174" y="219"/>
                  </a:lnTo>
                  <a:lnTo>
                    <a:pt x="168" y="206"/>
                  </a:lnTo>
                  <a:lnTo>
                    <a:pt x="161" y="195"/>
                  </a:lnTo>
                  <a:lnTo>
                    <a:pt x="150" y="190"/>
                  </a:lnTo>
                  <a:lnTo>
                    <a:pt x="134" y="187"/>
                  </a:lnTo>
                  <a:lnTo>
                    <a:pt x="76" y="187"/>
                  </a:lnTo>
                  <a:lnTo>
                    <a:pt x="76" y="294"/>
                  </a:lnTo>
                  <a:lnTo>
                    <a:pt x="0" y="294"/>
                  </a:lnTo>
                  <a:lnTo>
                    <a:pt x="0" y="0"/>
                  </a:lnTo>
                  <a:close/>
                  <a:moveTo>
                    <a:pt x="76" y="128"/>
                  </a:moveTo>
                  <a:lnTo>
                    <a:pt x="141" y="128"/>
                  </a:lnTo>
                  <a:lnTo>
                    <a:pt x="157" y="125"/>
                  </a:lnTo>
                  <a:lnTo>
                    <a:pt x="167" y="118"/>
                  </a:lnTo>
                  <a:lnTo>
                    <a:pt x="174" y="109"/>
                  </a:lnTo>
                  <a:lnTo>
                    <a:pt x="176" y="93"/>
                  </a:lnTo>
                  <a:lnTo>
                    <a:pt x="175" y="81"/>
                  </a:lnTo>
                  <a:lnTo>
                    <a:pt x="168" y="72"/>
                  </a:lnTo>
                  <a:lnTo>
                    <a:pt x="160" y="65"/>
                  </a:lnTo>
                  <a:lnTo>
                    <a:pt x="150" y="63"/>
                  </a:lnTo>
                  <a:lnTo>
                    <a:pt x="137" y="61"/>
                  </a:lnTo>
                  <a:lnTo>
                    <a:pt x="76" y="61"/>
                  </a:lnTo>
                  <a:lnTo>
                    <a:pt x="76" y="128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43" name="Freeform 12"/>
            <p:cNvSpPr>
              <a:spLocks/>
            </p:cNvSpPr>
            <p:nvPr/>
          </p:nvSpPr>
          <p:spPr bwMode="auto">
            <a:xfrm>
              <a:off x="8936812" y="6692294"/>
              <a:ext cx="80438" cy="60125"/>
            </a:xfrm>
            <a:custGeom>
              <a:avLst/>
              <a:gdLst/>
              <a:ahLst/>
              <a:cxnLst>
                <a:cxn ang="0">
                  <a:pos x="315" y="294"/>
                </a:cxn>
                <a:cxn ang="0">
                  <a:pos x="239" y="294"/>
                </a:cxn>
                <a:cxn ang="0">
                  <a:pos x="198" y="92"/>
                </a:cxn>
                <a:cxn ang="0">
                  <a:pos x="158" y="294"/>
                </a:cxn>
                <a:cxn ang="0">
                  <a:pos x="79" y="294"/>
                </a:cxn>
                <a:cxn ang="0">
                  <a:pos x="0" y="0"/>
                </a:cxn>
                <a:cxn ang="0">
                  <a:pos x="77" y="0"/>
                </a:cxn>
                <a:cxn ang="0">
                  <a:pos x="118" y="215"/>
                </a:cxn>
                <a:cxn ang="0">
                  <a:pos x="162" y="0"/>
                </a:cxn>
                <a:cxn ang="0">
                  <a:pos x="234" y="0"/>
                </a:cxn>
                <a:cxn ang="0">
                  <a:pos x="278" y="215"/>
                </a:cxn>
                <a:cxn ang="0">
                  <a:pos x="279" y="215"/>
                </a:cxn>
                <a:cxn ang="0">
                  <a:pos x="320" y="0"/>
                </a:cxn>
                <a:cxn ang="0">
                  <a:pos x="396" y="0"/>
                </a:cxn>
                <a:cxn ang="0">
                  <a:pos x="315" y="294"/>
                </a:cxn>
              </a:cxnLst>
              <a:rect l="0" t="0" r="r" b="b"/>
              <a:pathLst>
                <a:path w="396" h="294">
                  <a:moveTo>
                    <a:pt x="315" y="294"/>
                  </a:moveTo>
                  <a:lnTo>
                    <a:pt x="239" y="294"/>
                  </a:lnTo>
                  <a:lnTo>
                    <a:pt x="198" y="92"/>
                  </a:lnTo>
                  <a:lnTo>
                    <a:pt x="158" y="294"/>
                  </a:lnTo>
                  <a:lnTo>
                    <a:pt x="79" y="294"/>
                  </a:lnTo>
                  <a:lnTo>
                    <a:pt x="0" y="0"/>
                  </a:lnTo>
                  <a:lnTo>
                    <a:pt x="77" y="0"/>
                  </a:lnTo>
                  <a:lnTo>
                    <a:pt x="118" y="215"/>
                  </a:lnTo>
                  <a:lnTo>
                    <a:pt x="162" y="0"/>
                  </a:lnTo>
                  <a:lnTo>
                    <a:pt x="234" y="0"/>
                  </a:lnTo>
                  <a:lnTo>
                    <a:pt x="278" y="215"/>
                  </a:lnTo>
                  <a:lnTo>
                    <a:pt x="279" y="215"/>
                  </a:lnTo>
                  <a:lnTo>
                    <a:pt x="320" y="0"/>
                  </a:lnTo>
                  <a:lnTo>
                    <a:pt x="396" y="0"/>
                  </a:lnTo>
                  <a:lnTo>
                    <a:pt x="315" y="294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44" name="Freeform 13"/>
            <p:cNvSpPr>
              <a:spLocks noEditPoints="1"/>
            </p:cNvSpPr>
            <p:nvPr/>
          </p:nvSpPr>
          <p:spPr bwMode="auto">
            <a:xfrm>
              <a:off x="9017250" y="6692294"/>
              <a:ext cx="60125" cy="60125"/>
            </a:xfrm>
            <a:custGeom>
              <a:avLst/>
              <a:gdLst/>
              <a:ahLst/>
              <a:cxnLst>
                <a:cxn ang="0">
                  <a:pos x="109" y="0"/>
                </a:cxn>
                <a:cxn ang="0">
                  <a:pos x="187" y="0"/>
                </a:cxn>
                <a:cxn ang="0">
                  <a:pos x="298" y="294"/>
                </a:cxn>
                <a:cxn ang="0">
                  <a:pos x="217" y="294"/>
                </a:cxn>
                <a:cxn ang="0">
                  <a:pos x="200" y="241"/>
                </a:cxn>
                <a:cxn ang="0">
                  <a:pos x="96" y="241"/>
                </a:cxn>
                <a:cxn ang="0">
                  <a:pos x="78" y="294"/>
                </a:cxn>
                <a:cxn ang="0">
                  <a:pos x="0" y="294"/>
                </a:cxn>
                <a:cxn ang="0">
                  <a:pos x="109" y="0"/>
                </a:cxn>
                <a:cxn ang="0">
                  <a:pos x="115" y="184"/>
                </a:cxn>
                <a:cxn ang="0">
                  <a:pos x="182" y="184"/>
                </a:cxn>
                <a:cxn ang="0">
                  <a:pos x="148" y="82"/>
                </a:cxn>
                <a:cxn ang="0">
                  <a:pos x="115" y="184"/>
                </a:cxn>
              </a:cxnLst>
              <a:rect l="0" t="0" r="r" b="b"/>
              <a:pathLst>
                <a:path w="298" h="294">
                  <a:moveTo>
                    <a:pt x="109" y="0"/>
                  </a:moveTo>
                  <a:lnTo>
                    <a:pt x="187" y="0"/>
                  </a:lnTo>
                  <a:lnTo>
                    <a:pt x="298" y="294"/>
                  </a:lnTo>
                  <a:lnTo>
                    <a:pt x="217" y="294"/>
                  </a:lnTo>
                  <a:lnTo>
                    <a:pt x="200" y="241"/>
                  </a:lnTo>
                  <a:lnTo>
                    <a:pt x="96" y="241"/>
                  </a:lnTo>
                  <a:lnTo>
                    <a:pt x="78" y="294"/>
                  </a:lnTo>
                  <a:lnTo>
                    <a:pt x="0" y="294"/>
                  </a:lnTo>
                  <a:lnTo>
                    <a:pt x="109" y="0"/>
                  </a:lnTo>
                  <a:close/>
                  <a:moveTo>
                    <a:pt x="115" y="184"/>
                  </a:moveTo>
                  <a:lnTo>
                    <a:pt x="182" y="184"/>
                  </a:lnTo>
                  <a:lnTo>
                    <a:pt x="148" y="82"/>
                  </a:lnTo>
                  <a:lnTo>
                    <a:pt x="115" y="184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45" name="Freeform 14"/>
            <p:cNvSpPr>
              <a:spLocks noEditPoints="1"/>
            </p:cNvSpPr>
            <p:nvPr/>
          </p:nvSpPr>
          <p:spPr bwMode="auto">
            <a:xfrm>
              <a:off x="9085094" y="6692294"/>
              <a:ext cx="53219" cy="601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1" y="0"/>
                </a:cxn>
                <a:cxn ang="0">
                  <a:pos x="173" y="1"/>
                </a:cxn>
                <a:cxn ang="0">
                  <a:pos x="194" y="5"/>
                </a:cxn>
                <a:cxn ang="0">
                  <a:pos x="214" y="14"/>
                </a:cxn>
                <a:cxn ang="0">
                  <a:pos x="231" y="25"/>
                </a:cxn>
                <a:cxn ang="0">
                  <a:pos x="243" y="40"/>
                </a:cxn>
                <a:cxn ang="0">
                  <a:pos x="252" y="60"/>
                </a:cxn>
                <a:cxn ang="0">
                  <a:pos x="254" y="84"/>
                </a:cxn>
                <a:cxn ang="0">
                  <a:pos x="253" y="102"/>
                </a:cxn>
                <a:cxn ang="0">
                  <a:pos x="248" y="120"/>
                </a:cxn>
                <a:cxn ang="0">
                  <a:pos x="238" y="135"/>
                </a:cxn>
                <a:cxn ang="0">
                  <a:pos x="224" y="148"/>
                </a:cxn>
                <a:cxn ang="0">
                  <a:pos x="207" y="156"/>
                </a:cxn>
                <a:cxn ang="0">
                  <a:pos x="207" y="158"/>
                </a:cxn>
                <a:cxn ang="0">
                  <a:pos x="221" y="163"/>
                </a:cxn>
                <a:cxn ang="0">
                  <a:pos x="232" y="173"/>
                </a:cxn>
                <a:cxn ang="0">
                  <a:pos x="239" y="184"/>
                </a:cxn>
                <a:cxn ang="0">
                  <a:pos x="245" y="198"/>
                </a:cxn>
                <a:cxn ang="0">
                  <a:pos x="249" y="213"/>
                </a:cxn>
                <a:cxn ang="0">
                  <a:pos x="250" y="227"/>
                </a:cxn>
                <a:cxn ang="0">
                  <a:pos x="252" y="239"/>
                </a:cxn>
                <a:cxn ang="0">
                  <a:pos x="253" y="253"/>
                </a:cxn>
                <a:cxn ang="0">
                  <a:pos x="254" y="269"/>
                </a:cxn>
                <a:cxn ang="0">
                  <a:pos x="257" y="285"/>
                </a:cxn>
                <a:cxn ang="0">
                  <a:pos x="263" y="294"/>
                </a:cxn>
                <a:cxn ang="0">
                  <a:pos x="187" y="294"/>
                </a:cxn>
                <a:cxn ang="0">
                  <a:pos x="183" y="285"/>
                </a:cxn>
                <a:cxn ang="0">
                  <a:pos x="180" y="271"/>
                </a:cxn>
                <a:cxn ang="0">
                  <a:pos x="179" y="257"/>
                </a:cxn>
                <a:cxn ang="0">
                  <a:pos x="179" y="247"/>
                </a:cxn>
                <a:cxn ang="0">
                  <a:pos x="178" y="233"/>
                </a:cxn>
                <a:cxn ang="0">
                  <a:pos x="175" y="219"/>
                </a:cxn>
                <a:cxn ang="0">
                  <a:pos x="169" y="206"/>
                </a:cxn>
                <a:cxn ang="0">
                  <a:pos x="162" y="195"/>
                </a:cxn>
                <a:cxn ang="0">
                  <a:pos x="151" y="190"/>
                </a:cxn>
                <a:cxn ang="0">
                  <a:pos x="136" y="187"/>
                </a:cxn>
                <a:cxn ang="0">
                  <a:pos x="77" y="187"/>
                </a:cxn>
                <a:cxn ang="0">
                  <a:pos x="77" y="294"/>
                </a:cxn>
                <a:cxn ang="0">
                  <a:pos x="0" y="294"/>
                </a:cxn>
                <a:cxn ang="0">
                  <a:pos x="0" y="0"/>
                </a:cxn>
                <a:cxn ang="0">
                  <a:pos x="77" y="128"/>
                </a:cxn>
                <a:cxn ang="0">
                  <a:pos x="141" y="128"/>
                </a:cxn>
                <a:cxn ang="0">
                  <a:pos x="157" y="125"/>
                </a:cxn>
                <a:cxn ang="0">
                  <a:pos x="168" y="118"/>
                </a:cxn>
                <a:cxn ang="0">
                  <a:pos x="175" y="109"/>
                </a:cxn>
                <a:cxn ang="0">
                  <a:pos x="178" y="93"/>
                </a:cxn>
                <a:cxn ang="0">
                  <a:pos x="176" y="81"/>
                </a:cxn>
                <a:cxn ang="0">
                  <a:pos x="169" y="72"/>
                </a:cxn>
                <a:cxn ang="0">
                  <a:pos x="161" y="65"/>
                </a:cxn>
                <a:cxn ang="0">
                  <a:pos x="151" y="63"/>
                </a:cxn>
                <a:cxn ang="0">
                  <a:pos x="139" y="61"/>
                </a:cxn>
                <a:cxn ang="0">
                  <a:pos x="77" y="61"/>
                </a:cxn>
                <a:cxn ang="0">
                  <a:pos x="77" y="128"/>
                </a:cxn>
              </a:cxnLst>
              <a:rect l="0" t="0" r="r" b="b"/>
              <a:pathLst>
                <a:path w="263" h="294">
                  <a:moveTo>
                    <a:pt x="0" y="0"/>
                  </a:moveTo>
                  <a:lnTo>
                    <a:pt x="151" y="0"/>
                  </a:lnTo>
                  <a:lnTo>
                    <a:pt x="173" y="1"/>
                  </a:lnTo>
                  <a:lnTo>
                    <a:pt x="194" y="5"/>
                  </a:lnTo>
                  <a:lnTo>
                    <a:pt x="214" y="14"/>
                  </a:lnTo>
                  <a:lnTo>
                    <a:pt x="231" y="25"/>
                  </a:lnTo>
                  <a:lnTo>
                    <a:pt x="243" y="40"/>
                  </a:lnTo>
                  <a:lnTo>
                    <a:pt x="252" y="60"/>
                  </a:lnTo>
                  <a:lnTo>
                    <a:pt x="254" y="84"/>
                  </a:lnTo>
                  <a:lnTo>
                    <a:pt x="253" y="102"/>
                  </a:lnTo>
                  <a:lnTo>
                    <a:pt x="248" y="120"/>
                  </a:lnTo>
                  <a:lnTo>
                    <a:pt x="238" y="135"/>
                  </a:lnTo>
                  <a:lnTo>
                    <a:pt x="224" y="148"/>
                  </a:lnTo>
                  <a:lnTo>
                    <a:pt x="207" y="156"/>
                  </a:lnTo>
                  <a:lnTo>
                    <a:pt x="207" y="158"/>
                  </a:lnTo>
                  <a:lnTo>
                    <a:pt x="221" y="163"/>
                  </a:lnTo>
                  <a:lnTo>
                    <a:pt x="232" y="173"/>
                  </a:lnTo>
                  <a:lnTo>
                    <a:pt x="239" y="184"/>
                  </a:lnTo>
                  <a:lnTo>
                    <a:pt x="245" y="198"/>
                  </a:lnTo>
                  <a:lnTo>
                    <a:pt x="249" y="213"/>
                  </a:lnTo>
                  <a:lnTo>
                    <a:pt x="250" y="227"/>
                  </a:lnTo>
                  <a:lnTo>
                    <a:pt x="252" y="239"/>
                  </a:lnTo>
                  <a:lnTo>
                    <a:pt x="253" y="253"/>
                  </a:lnTo>
                  <a:lnTo>
                    <a:pt x="254" y="269"/>
                  </a:lnTo>
                  <a:lnTo>
                    <a:pt x="257" y="285"/>
                  </a:lnTo>
                  <a:lnTo>
                    <a:pt x="263" y="294"/>
                  </a:lnTo>
                  <a:lnTo>
                    <a:pt x="187" y="294"/>
                  </a:lnTo>
                  <a:lnTo>
                    <a:pt x="183" y="285"/>
                  </a:lnTo>
                  <a:lnTo>
                    <a:pt x="180" y="271"/>
                  </a:lnTo>
                  <a:lnTo>
                    <a:pt x="179" y="257"/>
                  </a:lnTo>
                  <a:lnTo>
                    <a:pt x="179" y="247"/>
                  </a:lnTo>
                  <a:lnTo>
                    <a:pt x="178" y="233"/>
                  </a:lnTo>
                  <a:lnTo>
                    <a:pt x="175" y="219"/>
                  </a:lnTo>
                  <a:lnTo>
                    <a:pt x="169" y="206"/>
                  </a:lnTo>
                  <a:lnTo>
                    <a:pt x="162" y="195"/>
                  </a:lnTo>
                  <a:lnTo>
                    <a:pt x="151" y="190"/>
                  </a:lnTo>
                  <a:lnTo>
                    <a:pt x="136" y="187"/>
                  </a:lnTo>
                  <a:lnTo>
                    <a:pt x="77" y="187"/>
                  </a:lnTo>
                  <a:lnTo>
                    <a:pt x="77" y="294"/>
                  </a:lnTo>
                  <a:lnTo>
                    <a:pt x="0" y="294"/>
                  </a:lnTo>
                  <a:lnTo>
                    <a:pt x="0" y="0"/>
                  </a:lnTo>
                  <a:close/>
                  <a:moveTo>
                    <a:pt x="77" y="128"/>
                  </a:moveTo>
                  <a:lnTo>
                    <a:pt x="141" y="128"/>
                  </a:lnTo>
                  <a:lnTo>
                    <a:pt x="157" y="125"/>
                  </a:lnTo>
                  <a:lnTo>
                    <a:pt x="168" y="118"/>
                  </a:lnTo>
                  <a:lnTo>
                    <a:pt x="175" y="109"/>
                  </a:lnTo>
                  <a:lnTo>
                    <a:pt x="178" y="93"/>
                  </a:lnTo>
                  <a:lnTo>
                    <a:pt x="176" y="81"/>
                  </a:lnTo>
                  <a:lnTo>
                    <a:pt x="169" y="72"/>
                  </a:lnTo>
                  <a:lnTo>
                    <a:pt x="161" y="65"/>
                  </a:lnTo>
                  <a:lnTo>
                    <a:pt x="151" y="63"/>
                  </a:lnTo>
                  <a:lnTo>
                    <a:pt x="139" y="61"/>
                  </a:lnTo>
                  <a:lnTo>
                    <a:pt x="77" y="61"/>
                  </a:lnTo>
                  <a:lnTo>
                    <a:pt x="77" y="128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46" name="Freeform 15"/>
            <p:cNvSpPr>
              <a:spLocks noEditPoints="1"/>
            </p:cNvSpPr>
            <p:nvPr/>
          </p:nvSpPr>
          <p:spPr bwMode="auto">
            <a:xfrm>
              <a:off x="9148875" y="6692294"/>
              <a:ext cx="55250" cy="601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7" y="0"/>
                </a:cxn>
                <a:cxn ang="0">
                  <a:pos x="159" y="3"/>
                </a:cxn>
                <a:cxn ang="0">
                  <a:pos x="187" y="10"/>
                </a:cxn>
                <a:cxn ang="0">
                  <a:pos x="212" y="22"/>
                </a:cxn>
                <a:cxn ang="0">
                  <a:pos x="231" y="39"/>
                </a:cxn>
                <a:cxn ang="0">
                  <a:pos x="248" y="60"/>
                </a:cxn>
                <a:cxn ang="0">
                  <a:pos x="261" y="85"/>
                </a:cxn>
                <a:cxn ang="0">
                  <a:pos x="268" y="114"/>
                </a:cxn>
                <a:cxn ang="0">
                  <a:pos x="271" y="146"/>
                </a:cxn>
                <a:cxn ang="0">
                  <a:pos x="268" y="180"/>
                </a:cxn>
                <a:cxn ang="0">
                  <a:pos x="261" y="211"/>
                </a:cxn>
                <a:cxn ang="0">
                  <a:pos x="248" y="236"/>
                </a:cxn>
                <a:cxn ang="0">
                  <a:pos x="231" y="257"/>
                </a:cxn>
                <a:cxn ang="0">
                  <a:pos x="212" y="274"/>
                </a:cxn>
                <a:cxn ang="0">
                  <a:pos x="187" y="285"/>
                </a:cxn>
                <a:cxn ang="0">
                  <a:pos x="159" y="292"/>
                </a:cxn>
                <a:cxn ang="0">
                  <a:pos x="127" y="294"/>
                </a:cxn>
                <a:cxn ang="0">
                  <a:pos x="0" y="294"/>
                </a:cxn>
                <a:cxn ang="0">
                  <a:pos x="0" y="0"/>
                </a:cxn>
                <a:cxn ang="0">
                  <a:pos x="266" y="145"/>
                </a:cxn>
                <a:cxn ang="0">
                  <a:pos x="76" y="42"/>
                </a:cxn>
                <a:cxn ang="0">
                  <a:pos x="76" y="253"/>
                </a:cxn>
                <a:cxn ang="0">
                  <a:pos x="266" y="145"/>
                </a:cxn>
              </a:cxnLst>
              <a:rect l="0" t="0" r="r" b="b"/>
              <a:pathLst>
                <a:path w="271" h="294">
                  <a:moveTo>
                    <a:pt x="0" y="0"/>
                  </a:moveTo>
                  <a:lnTo>
                    <a:pt x="127" y="0"/>
                  </a:lnTo>
                  <a:lnTo>
                    <a:pt x="159" y="3"/>
                  </a:lnTo>
                  <a:lnTo>
                    <a:pt x="187" y="10"/>
                  </a:lnTo>
                  <a:lnTo>
                    <a:pt x="212" y="22"/>
                  </a:lnTo>
                  <a:lnTo>
                    <a:pt x="231" y="39"/>
                  </a:lnTo>
                  <a:lnTo>
                    <a:pt x="248" y="60"/>
                  </a:lnTo>
                  <a:lnTo>
                    <a:pt x="261" y="85"/>
                  </a:lnTo>
                  <a:lnTo>
                    <a:pt x="268" y="114"/>
                  </a:lnTo>
                  <a:lnTo>
                    <a:pt x="271" y="146"/>
                  </a:lnTo>
                  <a:lnTo>
                    <a:pt x="268" y="180"/>
                  </a:lnTo>
                  <a:lnTo>
                    <a:pt x="261" y="211"/>
                  </a:lnTo>
                  <a:lnTo>
                    <a:pt x="248" y="236"/>
                  </a:lnTo>
                  <a:lnTo>
                    <a:pt x="231" y="257"/>
                  </a:lnTo>
                  <a:lnTo>
                    <a:pt x="212" y="274"/>
                  </a:lnTo>
                  <a:lnTo>
                    <a:pt x="187" y="285"/>
                  </a:lnTo>
                  <a:lnTo>
                    <a:pt x="159" y="292"/>
                  </a:lnTo>
                  <a:lnTo>
                    <a:pt x="127" y="294"/>
                  </a:lnTo>
                  <a:lnTo>
                    <a:pt x="0" y="294"/>
                  </a:lnTo>
                  <a:lnTo>
                    <a:pt x="0" y="0"/>
                  </a:lnTo>
                  <a:close/>
                  <a:moveTo>
                    <a:pt x="266" y="145"/>
                  </a:moveTo>
                  <a:lnTo>
                    <a:pt x="76" y="42"/>
                  </a:lnTo>
                  <a:lnTo>
                    <a:pt x="76" y="253"/>
                  </a:lnTo>
                  <a:lnTo>
                    <a:pt x="266" y="145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47" name="Freeform 16"/>
            <p:cNvSpPr>
              <a:spLocks/>
            </p:cNvSpPr>
            <p:nvPr/>
          </p:nvSpPr>
          <p:spPr bwMode="auto">
            <a:xfrm>
              <a:off x="9241094" y="6676450"/>
              <a:ext cx="28844" cy="76375"/>
            </a:xfrm>
            <a:custGeom>
              <a:avLst/>
              <a:gdLst/>
              <a:ahLst/>
              <a:cxnLst>
                <a:cxn ang="0">
                  <a:pos x="87" y="87"/>
                </a:cxn>
                <a:cxn ang="0">
                  <a:pos x="144" y="87"/>
                </a:cxn>
                <a:cxn ang="0">
                  <a:pos x="144" y="116"/>
                </a:cxn>
                <a:cxn ang="0">
                  <a:pos x="87" y="116"/>
                </a:cxn>
                <a:cxn ang="0">
                  <a:pos x="87" y="323"/>
                </a:cxn>
                <a:cxn ang="0">
                  <a:pos x="90" y="333"/>
                </a:cxn>
                <a:cxn ang="0">
                  <a:pos x="94" y="341"/>
                </a:cxn>
                <a:cxn ang="0">
                  <a:pos x="102" y="345"/>
                </a:cxn>
                <a:cxn ang="0">
                  <a:pos x="115" y="348"/>
                </a:cxn>
                <a:cxn ang="0">
                  <a:pos x="144" y="347"/>
                </a:cxn>
                <a:cxn ang="0">
                  <a:pos x="144" y="376"/>
                </a:cxn>
                <a:cxn ang="0">
                  <a:pos x="129" y="377"/>
                </a:cxn>
                <a:cxn ang="0">
                  <a:pos x="113" y="377"/>
                </a:cxn>
                <a:cxn ang="0">
                  <a:pos x="92" y="376"/>
                </a:cxn>
                <a:cxn ang="0">
                  <a:pos x="77" y="372"/>
                </a:cxn>
                <a:cxn ang="0">
                  <a:pos x="64" y="363"/>
                </a:cxn>
                <a:cxn ang="0">
                  <a:pos x="56" y="351"/>
                </a:cxn>
                <a:cxn ang="0">
                  <a:pos x="52" y="335"/>
                </a:cxn>
                <a:cxn ang="0">
                  <a:pos x="50" y="313"/>
                </a:cxn>
                <a:cxn ang="0">
                  <a:pos x="50" y="116"/>
                </a:cxn>
                <a:cxn ang="0">
                  <a:pos x="0" y="116"/>
                </a:cxn>
                <a:cxn ang="0">
                  <a:pos x="0" y="87"/>
                </a:cxn>
                <a:cxn ang="0">
                  <a:pos x="50" y="87"/>
                </a:cxn>
                <a:cxn ang="0">
                  <a:pos x="50" y="0"/>
                </a:cxn>
                <a:cxn ang="0">
                  <a:pos x="87" y="0"/>
                </a:cxn>
                <a:cxn ang="0">
                  <a:pos x="87" y="87"/>
                </a:cxn>
              </a:cxnLst>
              <a:rect l="0" t="0" r="r" b="b"/>
              <a:pathLst>
                <a:path w="144" h="377">
                  <a:moveTo>
                    <a:pt x="87" y="87"/>
                  </a:moveTo>
                  <a:lnTo>
                    <a:pt x="144" y="87"/>
                  </a:lnTo>
                  <a:lnTo>
                    <a:pt x="144" y="116"/>
                  </a:lnTo>
                  <a:lnTo>
                    <a:pt x="87" y="116"/>
                  </a:lnTo>
                  <a:lnTo>
                    <a:pt x="87" y="323"/>
                  </a:lnTo>
                  <a:lnTo>
                    <a:pt x="90" y="333"/>
                  </a:lnTo>
                  <a:lnTo>
                    <a:pt x="94" y="341"/>
                  </a:lnTo>
                  <a:lnTo>
                    <a:pt x="102" y="345"/>
                  </a:lnTo>
                  <a:lnTo>
                    <a:pt x="115" y="348"/>
                  </a:lnTo>
                  <a:lnTo>
                    <a:pt x="144" y="347"/>
                  </a:lnTo>
                  <a:lnTo>
                    <a:pt x="144" y="376"/>
                  </a:lnTo>
                  <a:lnTo>
                    <a:pt x="129" y="377"/>
                  </a:lnTo>
                  <a:lnTo>
                    <a:pt x="113" y="377"/>
                  </a:lnTo>
                  <a:lnTo>
                    <a:pt x="92" y="376"/>
                  </a:lnTo>
                  <a:lnTo>
                    <a:pt x="77" y="372"/>
                  </a:lnTo>
                  <a:lnTo>
                    <a:pt x="64" y="363"/>
                  </a:lnTo>
                  <a:lnTo>
                    <a:pt x="56" y="351"/>
                  </a:lnTo>
                  <a:lnTo>
                    <a:pt x="52" y="335"/>
                  </a:lnTo>
                  <a:lnTo>
                    <a:pt x="50" y="313"/>
                  </a:lnTo>
                  <a:lnTo>
                    <a:pt x="50" y="116"/>
                  </a:lnTo>
                  <a:lnTo>
                    <a:pt x="0" y="116"/>
                  </a:lnTo>
                  <a:lnTo>
                    <a:pt x="0" y="87"/>
                  </a:lnTo>
                  <a:lnTo>
                    <a:pt x="50" y="87"/>
                  </a:lnTo>
                  <a:lnTo>
                    <a:pt x="50" y="0"/>
                  </a:lnTo>
                  <a:lnTo>
                    <a:pt x="87" y="0"/>
                  </a:lnTo>
                  <a:lnTo>
                    <a:pt x="87" y="8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48" name="Freeform 17"/>
            <p:cNvSpPr>
              <a:spLocks/>
            </p:cNvSpPr>
            <p:nvPr/>
          </p:nvSpPr>
          <p:spPr bwMode="auto">
            <a:xfrm>
              <a:off x="9291875" y="6671575"/>
              <a:ext cx="47125" cy="8084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" y="0"/>
                </a:cxn>
                <a:cxn ang="0">
                  <a:pos x="35" y="160"/>
                </a:cxn>
                <a:cxn ang="0">
                  <a:pos x="36" y="160"/>
                </a:cxn>
                <a:cxn ang="0">
                  <a:pos x="48" y="141"/>
                </a:cxn>
                <a:cxn ang="0">
                  <a:pos x="63" y="125"/>
                </a:cxn>
                <a:cxn ang="0">
                  <a:pos x="83" y="114"/>
                </a:cxn>
                <a:cxn ang="0">
                  <a:pos x="105" y="105"/>
                </a:cxn>
                <a:cxn ang="0">
                  <a:pos x="129" y="102"/>
                </a:cxn>
                <a:cxn ang="0">
                  <a:pos x="157" y="104"/>
                </a:cxn>
                <a:cxn ang="0">
                  <a:pos x="179" y="109"/>
                </a:cxn>
                <a:cxn ang="0">
                  <a:pos x="197" y="119"/>
                </a:cxn>
                <a:cxn ang="0">
                  <a:pos x="211" y="132"/>
                </a:cxn>
                <a:cxn ang="0">
                  <a:pos x="222" y="147"/>
                </a:cxn>
                <a:cxn ang="0">
                  <a:pos x="228" y="167"/>
                </a:cxn>
                <a:cxn ang="0">
                  <a:pos x="232" y="189"/>
                </a:cxn>
                <a:cxn ang="0">
                  <a:pos x="233" y="213"/>
                </a:cxn>
                <a:cxn ang="0">
                  <a:pos x="233" y="398"/>
                </a:cxn>
                <a:cxn ang="0">
                  <a:pos x="198" y="398"/>
                </a:cxn>
                <a:cxn ang="0">
                  <a:pos x="198" y="218"/>
                </a:cxn>
                <a:cxn ang="0">
                  <a:pos x="197" y="199"/>
                </a:cxn>
                <a:cxn ang="0">
                  <a:pos x="194" y="179"/>
                </a:cxn>
                <a:cxn ang="0">
                  <a:pos x="187" y="164"/>
                </a:cxn>
                <a:cxn ang="0">
                  <a:pos x="179" y="150"/>
                </a:cxn>
                <a:cxn ang="0">
                  <a:pos x="165" y="140"/>
                </a:cxn>
                <a:cxn ang="0">
                  <a:pos x="148" y="134"/>
                </a:cxn>
                <a:cxn ang="0">
                  <a:pos x="126" y="132"/>
                </a:cxn>
                <a:cxn ang="0">
                  <a:pos x="99" y="134"/>
                </a:cxn>
                <a:cxn ang="0">
                  <a:pos x="78" y="144"/>
                </a:cxn>
                <a:cxn ang="0">
                  <a:pos x="60" y="160"/>
                </a:cxn>
                <a:cxn ang="0">
                  <a:pos x="46" y="179"/>
                </a:cxn>
                <a:cxn ang="0">
                  <a:pos x="38" y="204"/>
                </a:cxn>
                <a:cxn ang="0">
                  <a:pos x="35" y="231"/>
                </a:cxn>
                <a:cxn ang="0">
                  <a:pos x="35" y="398"/>
                </a:cxn>
                <a:cxn ang="0">
                  <a:pos x="0" y="398"/>
                </a:cxn>
                <a:cxn ang="0">
                  <a:pos x="0" y="0"/>
                </a:cxn>
              </a:cxnLst>
              <a:rect l="0" t="0" r="r" b="b"/>
              <a:pathLst>
                <a:path w="233" h="398">
                  <a:moveTo>
                    <a:pt x="0" y="0"/>
                  </a:moveTo>
                  <a:lnTo>
                    <a:pt x="35" y="0"/>
                  </a:lnTo>
                  <a:lnTo>
                    <a:pt x="35" y="160"/>
                  </a:lnTo>
                  <a:lnTo>
                    <a:pt x="36" y="160"/>
                  </a:lnTo>
                  <a:lnTo>
                    <a:pt x="48" y="141"/>
                  </a:lnTo>
                  <a:lnTo>
                    <a:pt x="63" y="125"/>
                  </a:lnTo>
                  <a:lnTo>
                    <a:pt x="83" y="114"/>
                  </a:lnTo>
                  <a:lnTo>
                    <a:pt x="105" y="105"/>
                  </a:lnTo>
                  <a:lnTo>
                    <a:pt x="129" y="102"/>
                  </a:lnTo>
                  <a:lnTo>
                    <a:pt x="157" y="104"/>
                  </a:lnTo>
                  <a:lnTo>
                    <a:pt x="179" y="109"/>
                  </a:lnTo>
                  <a:lnTo>
                    <a:pt x="197" y="119"/>
                  </a:lnTo>
                  <a:lnTo>
                    <a:pt x="211" y="132"/>
                  </a:lnTo>
                  <a:lnTo>
                    <a:pt x="222" y="147"/>
                  </a:lnTo>
                  <a:lnTo>
                    <a:pt x="228" y="167"/>
                  </a:lnTo>
                  <a:lnTo>
                    <a:pt x="232" y="189"/>
                  </a:lnTo>
                  <a:lnTo>
                    <a:pt x="233" y="213"/>
                  </a:lnTo>
                  <a:lnTo>
                    <a:pt x="233" y="398"/>
                  </a:lnTo>
                  <a:lnTo>
                    <a:pt x="198" y="398"/>
                  </a:lnTo>
                  <a:lnTo>
                    <a:pt x="198" y="218"/>
                  </a:lnTo>
                  <a:lnTo>
                    <a:pt x="197" y="199"/>
                  </a:lnTo>
                  <a:lnTo>
                    <a:pt x="194" y="179"/>
                  </a:lnTo>
                  <a:lnTo>
                    <a:pt x="187" y="164"/>
                  </a:lnTo>
                  <a:lnTo>
                    <a:pt x="179" y="150"/>
                  </a:lnTo>
                  <a:lnTo>
                    <a:pt x="165" y="140"/>
                  </a:lnTo>
                  <a:lnTo>
                    <a:pt x="148" y="134"/>
                  </a:lnTo>
                  <a:lnTo>
                    <a:pt x="126" y="132"/>
                  </a:lnTo>
                  <a:lnTo>
                    <a:pt x="99" y="134"/>
                  </a:lnTo>
                  <a:lnTo>
                    <a:pt x="78" y="144"/>
                  </a:lnTo>
                  <a:lnTo>
                    <a:pt x="60" y="160"/>
                  </a:lnTo>
                  <a:lnTo>
                    <a:pt x="46" y="179"/>
                  </a:lnTo>
                  <a:lnTo>
                    <a:pt x="38" y="204"/>
                  </a:lnTo>
                  <a:lnTo>
                    <a:pt x="35" y="231"/>
                  </a:lnTo>
                  <a:lnTo>
                    <a:pt x="35" y="398"/>
                  </a:lnTo>
                  <a:lnTo>
                    <a:pt x="0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49" name="Freeform 18"/>
            <p:cNvSpPr>
              <a:spLocks noEditPoints="1"/>
            </p:cNvSpPr>
            <p:nvPr/>
          </p:nvSpPr>
          <p:spPr bwMode="auto">
            <a:xfrm>
              <a:off x="9364187" y="6671575"/>
              <a:ext cx="6906" cy="8084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" y="0"/>
                </a:cxn>
                <a:cxn ang="0">
                  <a:pos x="35" y="56"/>
                </a:cxn>
                <a:cxn ang="0">
                  <a:pos x="0" y="56"/>
                </a:cxn>
                <a:cxn ang="0">
                  <a:pos x="0" y="0"/>
                </a:cxn>
                <a:cxn ang="0">
                  <a:pos x="0" y="111"/>
                </a:cxn>
                <a:cxn ang="0">
                  <a:pos x="35" y="111"/>
                </a:cxn>
                <a:cxn ang="0">
                  <a:pos x="35" y="398"/>
                </a:cxn>
                <a:cxn ang="0">
                  <a:pos x="0" y="398"/>
                </a:cxn>
                <a:cxn ang="0">
                  <a:pos x="0" y="111"/>
                </a:cxn>
              </a:cxnLst>
              <a:rect l="0" t="0" r="r" b="b"/>
              <a:pathLst>
                <a:path w="35" h="398">
                  <a:moveTo>
                    <a:pt x="0" y="0"/>
                  </a:moveTo>
                  <a:lnTo>
                    <a:pt x="35" y="0"/>
                  </a:lnTo>
                  <a:lnTo>
                    <a:pt x="35" y="56"/>
                  </a:lnTo>
                  <a:lnTo>
                    <a:pt x="0" y="56"/>
                  </a:lnTo>
                  <a:lnTo>
                    <a:pt x="0" y="0"/>
                  </a:lnTo>
                  <a:close/>
                  <a:moveTo>
                    <a:pt x="0" y="111"/>
                  </a:moveTo>
                  <a:lnTo>
                    <a:pt x="35" y="111"/>
                  </a:lnTo>
                  <a:lnTo>
                    <a:pt x="35" y="398"/>
                  </a:lnTo>
                  <a:lnTo>
                    <a:pt x="0" y="398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50" name="Freeform 19"/>
            <p:cNvSpPr>
              <a:spLocks/>
            </p:cNvSpPr>
            <p:nvPr/>
          </p:nvSpPr>
          <p:spPr bwMode="auto">
            <a:xfrm>
              <a:off x="9396281" y="6692294"/>
              <a:ext cx="47125" cy="60125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5" y="9"/>
                </a:cxn>
                <a:cxn ang="0">
                  <a:pos x="35" y="58"/>
                </a:cxn>
                <a:cxn ang="0">
                  <a:pos x="36" y="58"/>
                </a:cxn>
                <a:cxn ang="0">
                  <a:pos x="48" y="39"/>
                </a:cxn>
                <a:cxn ang="0">
                  <a:pos x="63" y="23"/>
                </a:cxn>
                <a:cxn ang="0">
                  <a:pos x="83" y="12"/>
                </a:cxn>
                <a:cxn ang="0">
                  <a:pos x="105" y="3"/>
                </a:cxn>
                <a:cxn ang="0">
                  <a:pos x="129" y="0"/>
                </a:cxn>
                <a:cxn ang="0">
                  <a:pos x="157" y="2"/>
                </a:cxn>
                <a:cxn ang="0">
                  <a:pos x="179" y="7"/>
                </a:cxn>
                <a:cxn ang="0">
                  <a:pos x="197" y="17"/>
                </a:cxn>
                <a:cxn ang="0">
                  <a:pos x="211" y="30"/>
                </a:cxn>
                <a:cxn ang="0">
                  <a:pos x="222" y="45"/>
                </a:cxn>
                <a:cxn ang="0">
                  <a:pos x="228" y="65"/>
                </a:cxn>
                <a:cxn ang="0">
                  <a:pos x="232" y="87"/>
                </a:cxn>
                <a:cxn ang="0">
                  <a:pos x="233" y="111"/>
                </a:cxn>
                <a:cxn ang="0">
                  <a:pos x="233" y="296"/>
                </a:cxn>
                <a:cxn ang="0">
                  <a:pos x="198" y="296"/>
                </a:cxn>
                <a:cxn ang="0">
                  <a:pos x="198" y="116"/>
                </a:cxn>
                <a:cxn ang="0">
                  <a:pos x="197" y="97"/>
                </a:cxn>
                <a:cxn ang="0">
                  <a:pos x="194" y="77"/>
                </a:cxn>
                <a:cxn ang="0">
                  <a:pos x="187" y="62"/>
                </a:cxn>
                <a:cxn ang="0">
                  <a:pos x="179" y="48"/>
                </a:cxn>
                <a:cxn ang="0">
                  <a:pos x="165" y="38"/>
                </a:cxn>
                <a:cxn ang="0">
                  <a:pos x="148" y="32"/>
                </a:cxn>
                <a:cxn ang="0">
                  <a:pos x="126" y="30"/>
                </a:cxn>
                <a:cxn ang="0">
                  <a:pos x="99" y="32"/>
                </a:cxn>
                <a:cxn ang="0">
                  <a:pos x="78" y="42"/>
                </a:cxn>
                <a:cxn ang="0">
                  <a:pos x="60" y="58"/>
                </a:cxn>
                <a:cxn ang="0">
                  <a:pos x="46" y="77"/>
                </a:cxn>
                <a:cxn ang="0">
                  <a:pos x="38" y="102"/>
                </a:cxn>
                <a:cxn ang="0">
                  <a:pos x="35" y="129"/>
                </a:cxn>
                <a:cxn ang="0">
                  <a:pos x="35" y="296"/>
                </a:cxn>
                <a:cxn ang="0">
                  <a:pos x="0" y="296"/>
                </a:cxn>
                <a:cxn ang="0">
                  <a:pos x="0" y="9"/>
                </a:cxn>
              </a:cxnLst>
              <a:rect l="0" t="0" r="r" b="b"/>
              <a:pathLst>
                <a:path w="233" h="296">
                  <a:moveTo>
                    <a:pt x="0" y="9"/>
                  </a:moveTo>
                  <a:lnTo>
                    <a:pt x="35" y="9"/>
                  </a:lnTo>
                  <a:lnTo>
                    <a:pt x="35" y="58"/>
                  </a:lnTo>
                  <a:lnTo>
                    <a:pt x="36" y="58"/>
                  </a:lnTo>
                  <a:lnTo>
                    <a:pt x="48" y="39"/>
                  </a:lnTo>
                  <a:lnTo>
                    <a:pt x="63" y="23"/>
                  </a:lnTo>
                  <a:lnTo>
                    <a:pt x="83" y="12"/>
                  </a:lnTo>
                  <a:lnTo>
                    <a:pt x="105" y="3"/>
                  </a:lnTo>
                  <a:lnTo>
                    <a:pt x="129" y="0"/>
                  </a:lnTo>
                  <a:lnTo>
                    <a:pt x="157" y="2"/>
                  </a:lnTo>
                  <a:lnTo>
                    <a:pt x="179" y="7"/>
                  </a:lnTo>
                  <a:lnTo>
                    <a:pt x="197" y="17"/>
                  </a:lnTo>
                  <a:lnTo>
                    <a:pt x="211" y="30"/>
                  </a:lnTo>
                  <a:lnTo>
                    <a:pt x="222" y="45"/>
                  </a:lnTo>
                  <a:lnTo>
                    <a:pt x="228" y="65"/>
                  </a:lnTo>
                  <a:lnTo>
                    <a:pt x="232" y="87"/>
                  </a:lnTo>
                  <a:lnTo>
                    <a:pt x="233" y="111"/>
                  </a:lnTo>
                  <a:lnTo>
                    <a:pt x="233" y="296"/>
                  </a:lnTo>
                  <a:lnTo>
                    <a:pt x="198" y="296"/>
                  </a:lnTo>
                  <a:lnTo>
                    <a:pt x="198" y="116"/>
                  </a:lnTo>
                  <a:lnTo>
                    <a:pt x="197" y="97"/>
                  </a:lnTo>
                  <a:lnTo>
                    <a:pt x="194" y="77"/>
                  </a:lnTo>
                  <a:lnTo>
                    <a:pt x="187" y="62"/>
                  </a:lnTo>
                  <a:lnTo>
                    <a:pt x="179" y="48"/>
                  </a:lnTo>
                  <a:lnTo>
                    <a:pt x="165" y="38"/>
                  </a:lnTo>
                  <a:lnTo>
                    <a:pt x="148" y="32"/>
                  </a:lnTo>
                  <a:lnTo>
                    <a:pt x="126" y="30"/>
                  </a:lnTo>
                  <a:lnTo>
                    <a:pt x="99" y="32"/>
                  </a:lnTo>
                  <a:lnTo>
                    <a:pt x="78" y="42"/>
                  </a:lnTo>
                  <a:lnTo>
                    <a:pt x="60" y="58"/>
                  </a:lnTo>
                  <a:lnTo>
                    <a:pt x="46" y="77"/>
                  </a:lnTo>
                  <a:lnTo>
                    <a:pt x="38" y="102"/>
                  </a:lnTo>
                  <a:lnTo>
                    <a:pt x="35" y="129"/>
                  </a:lnTo>
                  <a:lnTo>
                    <a:pt x="35" y="296"/>
                  </a:lnTo>
                  <a:lnTo>
                    <a:pt x="0" y="296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51" name="Freeform 20"/>
            <p:cNvSpPr>
              <a:spLocks/>
            </p:cNvSpPr>
            <p:nvPr/>
          </p:nvSpPr>
          <p:spPr bwMode="auto">
            <a:xfrm>
              <a:off x="9468594" y="6671575"/>
              <a:ext cx="50375" cy="8084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" y="0"/>
                </a:cxn>
                <a:cxn ang="0">
                  <a:pos x="35" y="250"/>
                </a:cxn>
                <a:cxn ang="0">
                  <a:pos x="194" y="111"/>
                </a:cxn>
                <a:cxn ang="0">
                  <a:pos x="241" y="111"/>
                </a:cxn>
                <a:cxn ang="0">
                  <a:pos x="119" y="217"/>
                </a:cxn>
                <a:cxn ang="0">
                  <a:pos x="249" y="398"/>
                </a:cxn>
                <a:cxn ang="0">
                  <a:pos x="206" y="398"/>
                </a:cxn>
                <a:cxn ang="0">
                  <a:pos x="91" y="242"/>
                </a:cxn>
                <a:cxn ang="0">
                  <a:pos x="35" y="290"/>
                </a:cxn>
                <a:cxn ang="0">
                  <a:pos x="35" y="398"/>
                </a:cxn>
                <a:cxn ang="0">
                  <a:pos x="0" y="398"/>
                </a:cxn>
                <a:cxn ang="0">
                  <a:pos x="0" y="0"/>
                </a:cxn>
              </a:cxnLst>
              <a:rect l="0" t="0" r="r" b="b"/>
              <a:pathLst>
                <a:path w="249" h="398">
                  <a:moveTo>
                    <a:pt x="0" y="0"/>
                  </a:moveTo>
                  <a:lnTo>
                    <a:pt x="35" y="0"/>
                  </a:lnTo>
                  <a:lnTo>
                    <a:pt x="35" y="250"/>
                  </a:lnTo>
                  <a:lnTo>
                    <a:pt x="194" y="111"/>
                  </a:lnTo>
                  <a:lnTo>
                    <a:pt x="241" y="111"/>
                  </a:lnTo>
                  <a:lnTo>
                    <a:pt x="119" y="217"/>
                  </a:lnTo>
                  <a:lnTo>
                    <a:pt x="249" y="398"/>
                  </a:lnTo>
                  <a:lnTo>
                    <a:pt x="206" y="398"/>
                  </a:lnTo>
                  <a:lnTo>
                    <a:pt x="91" y="242"/>
                  </a:lnTo>
                  <a:lnTo>
                    <a:pt x="35" y="290"/>
                  </a:lnTo>
                  <a:lnTo>
                    <a:pt x="35" y="398"/>
                  </a:lnTo>
                  <a:lnTo>
                    <a:pt x="0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52" name="Freeform 21"/>
            <p:cNvSpPr>
              <a:spLocks noEditPoints="1"/>
            </p:cNvSpPr>
            <p:nvPr/>
          </p:nvSpPr>
          <p:spPr bwMode="auto">
            <a:xfrm>
              <a:off x="9536437" y="6671575"/>
              <a:ext cx="7313" cy="8084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6" y="0"/>
                </a:cxn>
                <a:cxn ang="0">
                  <a:pos x="36" y="56"/>
                </a:cxn>
                <a:cxn ang="0">
                  <a:pos x="0" y="56"/>
                </a:cxn>
                <a:cxn ang="0">
                  <a:pos x="0" y="0"/>
                </a:cxn>
                <a:cxn ang="0">
                  <a:pos x="0" y="111"/>
                </a:cxn>
                <a:cxn ang="0">
                  <a:pos x="36" y="111"/>
                </a:cxn>
                <a:cxn ang="0">
                  <a:pos x="36" y="398"/>
                </a:cxn>
                <a:cxn ang="0">
                  <a:pos x="0" y="398"/>
                </a:cxn>
                <a:cxn ang="0">
                  <a:pos x="0" y="111"/>
                </a:cxn>
              </a:cxnLst>
              <a:rect l="0" t="0" r="r" b="b"/>
              <a:pathLst>
                <a:path w="36" h="398">
                  <a:moveTo>
                    <a:pt x="0" y="0"/>
                  </a:moveTo>
                  <a:lnTo>
                    <a:pt x="36" y="0"/>
                  </a:lnTo>
                  <a:lnTo>
                    <a:pt x="36" y="56"/>
                  </a:lnTo>
                  <a:lnTo>
                    <a:pt x="0" y="56"/>
                  </a:lnTo>
                  <a:lnTo>
                    <a:pt x="0" y="0"/>
                  </a:lnTo>
                  <a:close/>
                  <a:moveTo>
                    <a:pt x="0" y="111"/>
                  </a:moveTo>
                  <a:lnTo>
                    <a:pt x="36" y="111"/>
                  </a:lnTo>
                  <a:lnTo>
                    <a:pt x="36" y="398"/>
                  </a:lnTo>
                  <a:lnTo>
                    <a:pt x="0" y="398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53" name="Freeform 22"/>
            <p:cNvSpPr>
              <a:spLocks/>
            </p:cNvSpPr>
            <p:nvPr/>
          </p:nvSpPr>
          <p:spPr bwMode="auto">
            <a:xfrm>
              <a:off x="9568531" y="6692294"/>
              <a:ext cx="47531" cy="60125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6" y="9"/>
                </a:cxn>
                <a:cxn ang="0">
                  <a:pos x="36" y="58"/>
                </a:cxn>
                <a:cxn ang="0">
                  <a:pos x="47" y="39"/>
                </a:cxn>
                <a:cxn ang="0">
                  <a:pos x="63" y="23"/>
                </a:cxn>
                <a:cxn ang="0">
                  <a:pos x="82" y="12"/>
                </a:cxn>
                <a:cxn ang="0">
                  <a:pos x="105" y="3"/>
                </a:cxn>
                <a:cxn ang="0">
                  <a:pos x="129" y="0"/>
                </a:cxn>
                <a:cxn ang="0">
                  <a:pos x="156" y="2"/>
                </a:cxn>
                <a:cxn ang="0">
                  <a:pos x="179" y="7"/>
                </a:cxn>
                <a:cxn ang="0">
                  <a:pos x="198" y="17"/>
                </a:cxn>
                <a:cxn ang="0">
                  <a:pos x="212" y="30"/>
                </a:cxn>
                <a:cxn ang="0">
                  <a:pos x="222" y="45"/>
                </a:cxn>
                <a:cxn ang="0">
                  <a:pos x="229" y="65"/>
                </a:cxn>
                <a:cxn ang="0">
                  <a:pos x="233" y="87"/>
                </a:cxn>
                <a:cxn ang="0">
                  <a:pos x="235" y="111"/>
                </a:cxn>
                <a:cxn ang="0">
                  <a:pos x="235" y="296"/>
                </a:cxn>
                <a:cxn ang="0">
                  <a:pos x="198" y="296"/>
                </a:cxn>
                <a:cxn ang="0">
                  <a:pos x="198" y="116"/>
                </a:cxn>
                <a:cxn ang="0">
                  <a:pos x="197" y="97"/>
                </a:cxn>
                <a:cxn ang="0">
                  <a:pos x="194" y="77"/>
                </a:cxn>
                <a:cxn ang="0">
                  <a:pos x="187" y="62"/>
                </a:cxn>
                <a:cxn ang="0">
                  <a:pos x="179" y="48"/>
                </a:cxn>
                <a:cxn ang="0">
                  <a:pos x="165" y="38"/>
                </a:cxn>
                <a:cxn ang="0">
                  <a:pos x="148" y="32"/>
                </a:cxn>
                <a:cxn ang="0">
                  <a:pos x="126" y="30"/>
                </a:cxn>
                <a:cxn ang="0">
                  <a:pos x="99" y="32"/>
                </a:cxn>
                <a:cxn ang="0">
                  <a:pos x="78" y="42"/>
                </a:cxn>
                <a:cxn ang="0">
                  <a:pos x="60" y="58"/>
                </a:cxn>
                <a:cxn ang="0">
                  <a:pos x="47" y="77"/>
                </a:cxn>
                <a:cxn ang="0">
                  <a:pos x="39" y="102"/>
                </a:cxn>
                <a:cxn ang="0">
                  <a:pos x="36" y="129"/>
                </a:cxn>
                <a:cxn ang="0">
                  <a:pos x="36" y="296"/>
                </a:cxn>
                <a:cxn ang="0">
                  <a:pos x="0" y="296"/>
                </a:cxn>
                <a:cxn ang="0">
                  <a:pos x="0" y="9"/>
                </a:cxn>
              </a:cxnLst>
              <a:rect l="0" t="0" r="r" b="b"/>
              <a:pathLst>
                <a:path w="235" h="296">
                  <a:moveTo>
                    <a:pt x="0" y="9"/>
                  </a:moveTo>
                  <a:lnTo>
                    <a:pt x="36" y="9"/>
                  </a:lnTo>
                  <a:lnTo>
                    <a:pt x="36" y="58"/>
                  </a:lnTo>
                  <a:lnTo>
                    <a:pt x="47" y="39"/>
                  </a:lnTo>
                  <a:lnTo>
                    <a:pt x="63" y="23"/>
                  </a:lnTo>
                  <a:lnTo>
                    <a:pt x="82" y="12"/>
                  </a:lnTo>
                  <a:lnTo>
                    <a:pt x="105" y="3"/>
                  </a:lnTo>
                  <a:lnTo>
                    <a:pt x="129" y="0"/>
                  </a:lnTo>
                  <a:lnTo>
                    <a:pt x="156" y="2"/>
                  </a:lnTo>
                  <a:lnTo>
                    <a:pt x="179" y="7"/>
                  </a:lnTo>
                  <a:lnTo>
                    <a:pt x="198" y="17"/>
                  </a:lnTo>
                  <a:lnTo>
                    <a:pt x="212" y="30"/>
                  </a:lnTo>
                  <a:lnTo>
                    <a:pt x="222" y="45"/>
                  </a:lnTo>
                  <a:lnTo>
                    <a:pt x="229" y="65"/>
                  </a:lnTo>
                  <a:lnTo>
                    <a:pt x="233" y="87"/>
                  </a:lnTo>
                  <a:lnTo>
                    <a:pt x="235" y="111"/>
                  </a:lnTo>
                  <a:lnTo>
                    <a:pt x="235" y="296"/>
                  </a:lnTo>
                  <a:lnTo>
                    <a:pt x="198" y="296"/>
                  </a:lnTo>
                  <a:lnTo>
                    <a:pt x="198" y="116"/>
                  </a:lnTo>
                  <a:lnTo>
                    <a:pt x="197" y="97"/>
                  </a:lnTo>
                  <a:lnTo>
                    <a:pt x="194" y="77"/>
                  </a:lnTo>
                  <a:lnTo>
                    <a:pt x="187" y="62"/>
                  </a:lnTo>
                  <a:lnTo>
                    <a:pt x="179" y="48"/>
                  </a:lnTo>
                  <a:lnTo>
                    <a:pt x="165" y="38"/>
                  </a:lnTo>
                  <a:lnTo>
                    <a:pt x="148" y="32"/>
                  </a:lnTo>
                  <a:lnTo>
                    <a:pt x="126" y="30"/>
                  </a:lnTo>
                  <a:lnTo>
                    <a:pt x="99" y="32"/>
                  </a:lnTo>
                  <a:lnTo>
                    <a:pt x="78" y="42"/>
                  </a:lnTo>
                  <a:lnTo>
                    <a:pt x="60" y="58"/>
                  </a:lnTo>
                  <a:lnTo>
                    <a:pt x="47" y="77"/>
                  </a:lnTo>
                  <a:lnTo>
                    <a:pt x="39" y="102"/>
                  </a:lnTo>
                  <a:lnTo>
                    <a:pt x="36" y="129"/>
                  </a:lnTo>
                  <a:lnTo>
                    <a:pt x="36" y="296"/>
                  </a:lnTo>
                  <a:lnTo>
                    <a:pt x="0" y="296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54" name="Freeform 23"/>
            <p:cNvSpPr>
              <a:spLocks noEditPoints="1"/>
            </p:cNvSpPr>
            <p:nvPr/>
          </p:nvSpPr>
          <p:spPr bwMode="auto">
            <a:xfrm>
              <a:off x="9638000" y="6692294"/>
              <a:ext cx="52000" cy="83281"/>
            </a:xfrm>
            <a:custGeom>
              <a:avLst/>
              <a:gdLst/>
              <a:ahLst/>
              <a:cxnLst>
                <a:cxn ang="0">
                  <a:pos x="256" y="303"/>
                </a:cxn>
                <a:cxn ang="0">
                  <a:pos x="242" y="355"/>
                </a:cxn>
                <a:cxn ang="0">
                  <a:pos x="211" y="390"/>
                </a:cxn>
                <a:cxn ang="0">
                  <a:pos x="162" y="408"/>
                </a:cxn>
                <a:cxn ang="0">
                  <a:pos x="105" y="410"/>
                </a:cxn>
                <a:cxn ang="0">
                  <a:pos x="60" y="396"/>
                </a:cxn>
                <a:cxn ang="0">
                  <a:pos x="25" y="369"/>
                </a:cxn>
                <a:cxn ang="0">
                  <a:pos x="10" y="324"/>
                </a:cxn>
                <a:cxn ang="0">
                  <a:pos x="52" y="343"/>
                </a:cxn>
                <a:cxn ang="0">
                  <a:pos x="76" y="369"/>
                </a:cxn>
                <a:cxn ang="0">
                  <a:pos x="111" y="380"/>
                </a:cxn>
                <a:cxn ang="0">
                  <a:pos x="155" y="379"/>
                </a:cxn>
                <a:cxn ang="0">
                  <a:pos x="193" y="361"/>
                </a:cxn>
                <a:cxn ang="0">
                  <a:pos x="215" y="324"/>
                </a:cxn>
                <a:cxn ang="0">
                  <a:pos x="222" y="273"/>
                </a:cxn>
                <a:cxn ang="0">
                  <a:pos x="221" y="234"/>
                </a:cxn>
                <a:cxn ang="0">
                  <a:pos x="193" y="270"/>
                </a:cxn>
                <a:cxn ang="0">
                  <a:pos x="154" y="290"/>
                </a:cxn>
                <a:cxn ang="0">
                  <a:pos x="101" y="290"/>
                </a:cxn>
                <a:cxn ang="0">
                  <a:pos x="56" y="273"/>
                </a:cxn>
                <a:cxn ang="0">
                  <a:pos x="24" y="241"/>
                </a:cxn>
                <a:cxn ang="0">
                  <a:pos x="6" y="197"/>
                </a:cxn>
                <a:cxn ang="0">
                  <a:pos x="0" y="146"/>
                </a:cxn>
                <a:cxn ang="0">
                  <a:pos x="9" y="90"/>
                </a:cxn>
                <a:cxn ang="0">
                  <a:pos x="34" y="44"/>
                </a:cxn>
                <a:cxn ang="0">
                  <a:pos x="74" y="12"/>
                </a:cxn>
                <a:cxn ang="0">
                  <a:pos x="130" y="0"/>
                </a:cxn>
                <a:cxn ang="0">
                  <a:pos x="176" y="12"/>
                </a:cxn>
                <a:cxn ang="0">
                  <a:pos x="210" y="39"/>
                </a:cxn>
                <a:cxn ang="0">
                  <a:pos x="222" y="58"/>
                </a:cxn>
                <a:cxn ang="0">
                  <a:pos x="257" y="9"/>
                </a:cxn>
                <a:cxn ang="0">
                  <a:pos x="222" y="150"/>
                </a:cxn>
                <a:cxn ang="0">
                  <a:pos x="217" y="107"/>
                </a:cxn>
                <a:cxn ang="0">
                  <a:pos x="201" y="69"/>
                </a:cxn>
                <a:cxn ang="0">
                  <a:pos x="172" y="41"/>
                </a:cxn>
                <a:cxn ang="0">
                  <a:pos x="130" y="30"/>
                </a:cxn>
                <a:cxn ang="0">
                  <a:pos x="87" y="39"/>
                </a:cxn>
                <a:cxn ang="0">
                  <a:pos x="57" y="67"/>
                </a:cxn>
                <a:cxn ang="0">
                  <a:pos x="41" y="105"/>
                </a:cxn>
                <a:cxn ang="0">
                  <a:pos x="35" y="150"/>
                </a:cxn>
                <a:cxn ang="0">
                  <a:pos x="41" y="192"/>
                </a:cxn>
                <a:cxn ang="0">
                  <a:pos x="57" y="228"/>
                </a:cxn>
                <a:cxn ang="0">
                  <a:pos x="88" y="253"/>
                </a:cxn>
                <a:cxn ang="0">
                  <a:pos x="130" y="263"/>
                </a:cxn>
                <a:cxn ang="0">
                  <a:pos x="175" y="250"/>
                </a:cxn>
                <a:cxn ang="0">
                  <a:pos x="206" y="218"/>
                </a:cxn>
                <a:cxn ang="0">
                  <a:pos x="221" y="174"/>
                </a:cxn>
              </a:cxnLst>
              <a:rect l="0" t="0" r="r" b="b"/>
              <a:pathLst>
                <a:path w="257" h="411">
                  <a:moveTo>
                    <a:pt x="257" y="273"/>
                  </a:moveTo>
                  <a:lnTo>
                    <a:pt x="256" y="303"/>
                  </a:lnTo>
                  <a:lnTo>
                    <a:pt x="250" y="331"/>
                  </a:lnTo>
                  <a:lnTo>
                    <a:pt x="242" y="355"/>
                  </a:lnTo>
                  <a:lnTo>
                    <a:pt x="229" y="375"/>
                  </a:lnTo>
                  <a:lnTo>
                    <a:pt x="211" y="390"/>
                  </a:lnTo>
                  <a:lnTo>
                    <a:pt x="189" y="401"/>
                  </a:lnTo>
                  <a:lnTo>
                    <a:pt x="162" y="408"/>
                  </a:lnTo>
                  <a:lnTo>
                    <a:pt x="130" y="411"/>
                  </a:lnTo>
                  <a:lnTo>
                    <a:pt x="105" y="410"/>
                  </a:lnTo>
                  <a:lnTo>
                    <a:pt x="81" y="404"/>
                  </a:lnTo>
                  <a:lnTo>
                    <a:pt x="60" y="396"/>
                  </a:lnTo>
                  <a:lnTo>
                    <a:pt x="41" y="384"/>
                  </a:lnTo>
                  <a:lnTo>
                    <a:pt x="25" y="369"/>
                  </a:lnTo>
                  <a:lnTo>
                    <a:pt x="16" y="348"/>
                  </a:lnTo>
                  <a:lnTo>
                    <a:pt x="10" y="324"/>
                  </a:lnTo>
                  <a:lnTo>
                    <a:pt x="45" y="324"/>
                  </a:lnTo>
                  <a:lnTo>
                    <a:pt x="52" y="343"/>
                  </a:lnTo>
                  <a:lnTo>
                    <a:pt x="62" y="358"/>
                  </a:lnTo>
                  <a:lnTo>
                    <a:pt x="76" y="369"/>
                  </a:lnTo>
                  <a:lnTo>
                    <a:pt x="92" y="376"/>
                  </a:lnTo>
                  <a:lnTo>
                    <a:pt x="111" y="380"/>
                  </a:lnTo>
                  <a:lnTo>
                    <a:pt x="130" y="382"/>
                  </a:lnTo>
                  <a:lnTo>
                    <a:pt x="155" y="379"/>
                  </a:lnTo>
                  <a:lnTo>
                    <a:pt x="176" y="372"/>
                  </a:lnTo>
                  <a:lnTo>
                    <a:pt x="193" y="361"/>
                  </a:lnTo>
                  <a:lnTo>
                    <a:pt x="207" y="345"/>
                  </a:lnTo>
                  <a:lnTo>
                    <a:pt x="215" y="324"/>
                  </a:lnTo>
                  <a:lnTo>
                    <a:pt x="221" y="301"/>
                  </a:lnTo>
                  <a:lnTo>
                    <a:pt x="222" y="273"/>
                  </a:lnTo>
                  <a:lnTo>
                    <a:pt x="222" y="234"/>
                  </a:lnTo>
                  <a:lnTo>
                    <a:pt x="221" y="234"/>
                  </a:lnTo>
                  <a:lnTo>
                    <a:pt x="208" y="253"/>
                  </a:lnTo>
                  <a:lnTo>
                    <a:pt x="193" y="270"/>
                  </a:lnTo>
                  <a:lnTo>
                    <a:pt x="175" y="281"/>
                  </a:lnTo>
                  <a:lnTo>
                    <a:pt x="154" y="290"/>
                  </a:lnTo>
                  <a:lnTo>
                    <a:pt x="130" y="292"/>
                  </a:lnTo>
                  <a:lnTo>
                    <a:pt x="101" y="290"/>
                  </a:lnTo>
                  <a:lnTo>
                    <a:pt x="77" y="283"/>
                  </a:lnTo>
                  <a:lnTo>
                    <a:pt x="56" y="273"/>
                  </a:lnTo>
                  <a:lnTo>
                    <a:pt x="38" y="257"/>
                  </a:lnTo>
                  <a:lnTo>
                    <a:pt x="24" y="241"/>
                  </a:lnTo>
                  <a:lnTo>
                    <a:pt x="13" y="220"/>
                  </a:lnTo>
                  <a:lnTo>
                    <a:pt x="6" y="197"/>
                  </a:lnTo>
                  <a:lnTo>
                    <a:pt x="2" y="172"/>
                  </a:lnTo>
                  <a:lnTo>
                    <a:pt x="0" y="146"/>
                  </a:lnTo>
                  <a:lnTo>
                    <a:pt x="3" y="116"/>
                  </a:lnTo>
                  <a:lnTo>
                    <a:pt x="9" y="90"/>
                  </a:lnTo>
                  <a:lnTo>
                    <a:pt x="20" y="65"/>
                  </a:lnTo>
                  <a:lnTo>
                    <a:pt x="34" y="44"/>
                  </a:lnTo>
                  <a:lnTo>
                    <a:pt x="52" y="26"/>
                  </a:lnTo>
                  <a:lnTo>
                    <a:pt x="74" y="12"/>
                  </a:lnTo>
                  <a:lnTo>
                    <a:pt x="101" y="3"/>
                  </a:lnTo>
                  <a:lnTo>
                    <a:pt x="130" y="0"/>
                  </a:lnTo>
                  <a:lnTo>
                    <a:pt x="154" y="3"/>
                  </a:lnTo>
                  <a:lnTo>
                    <a:pt x="176" y="12"/>
                  </a:lnTo>
                  <a:lnTo>
                    <a:pt x="194" y="24"/>
                  </a:lnTo>
                  <a:lnTo>
                    <a:pt x="210" y="39"/>
                  </a:lnTo>
                  <a:lnTo>
                    <a:pt x="221" y="58"/>
                  </a:lnTo>
                  <a:lnTo>
                    <a:pt x="222" y="58"/>
                  </a:lnTo>
                  <a:lnTo>
                    <a:pt x="222" y="9"/>
                  </a:lnTo>
                  <a:lnTo>
                    <a:pt x="257" y="9"/>
                  </a:lnTo>
                  <a:lnTo>
                    <a:pt x="257" y="273"/>
                  </a:lnTo>
                  <a:close/>
                  <a:moveTo>
                    <a:pt x="222" y="150"/>
                  </a:moveTo>
                  <a:lnTo>
                    <a:pt x="221" y="129"/>
                  </a:lnTo>
                  <a:lnTo>
                    <a:pt x="217" y="107"/>
                  </a:lnTo>
                  <a:lnTo>
                    <a:pt x="211" y="87"/>
                  </a:lnTo>
                  <a:lnTo>
                    <a:pt x="201" y="69"/>
                  </a:lnTo>
                  <a:lnTo>
                    <a:pt x="189" y="52"/>
                  </a:lnTo>
                  <a:lnTo>
                    <a:pt x="172" y="41"/>
                  </a:lnTo>
                  <a:lnTo>
                    <a:pt x="152" y="32"/>
                  </a:lnTo>
                  <a:lnTo>
                    <a:pt x="130" y="30"/>
                  </a:lnTo>
                  <a:lnTo>
                    <a:pt x="106" y="32"/>
                  </a:lnTo>
                  <a:lnTo>
                    <a:pt x="87" y="39"/>
                  </a:lnTo>
                  <a:lnTo>
                    <a:pt x="70" y="52"/>
                  </a:lnTo>
                  <a:lnTo>
                    <a:pt x="57" y="67"/>
                  </a:lnTo>
                  <a:lnTo>
                    <a:pt x="48" y="86"/>
                  </a:lnTo>
                  <a:lnTo>
                    <a:pt x="41" y="105"/>
                  </a:lnTo>
                  <a:lnTo>
                    <a:pt x="37" y="127"/>
                  </a:lnTo>
                  <a:lnTo>
                    <a:pt x="35" y="150"/>
                  </a:lnTo>
                  <a:lnTo>
                    <a:pt x="37" y="171"/>
                  </a:lnTo>
                  <a:lnTo>
                    <a:pt x="41" y="192"/>
                  </a:lnTo>
                  <a:lnTo>
                    <a:pt x="48" y="211"/>
                  </a:lnTo>
                  <a:lnTo>
                    <a:pt x="57" y="228"/>
                  </a:lnTo>
                  <a:lnTo>
                    <a:pt x="71" y="242"/>
                  </a:lnTo>
                  <a:lnTo>
                    <a:pt x="88" y="253"/>
                  </a:lnTo>
                  <a:lnTo>
                    <a:pt x="108" y="260"/>
                  </a:lnTo>
                  <a:lnTo>
                    <a:pt x="130" y="263"/>
                  </a:lnTo>
                  <a:lnTo>
                    <a:pt x="154" y="260"/>
                  </a:lnTo>
                  <a:lnTo>
                    <a:pt x="175" y="250"/>
                  </a:lnTo>
                  <a:lnTo>
                    <a:pt x="192" y="236"/>
                  </a:lnTo>
                  <a:lnTo>
                    <a:pt x="206" y="218"/>
                  </a:lnTo>
                  <a:lnTo>
                    <a:pt x="214" y="197"/>
                  </a:lnTo>
                  <a:lnTo>
                    <a:pt x="221" y="174"/>
                  </a:lnTo>
                  <a:lnTo>
                    <a:pt x="222" y="15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</p:grpSp>
      <p:sp>
        <p:nvSpPr>
          <p:cNvPr id="55" name="TextBox 54"/>
          <p:cNvSpPr txBox="1"/>
          <p:nvPr/>
        </p:nvSpPr>
        <p:spPr>
          <a:xfrm>
            <a:off x="229852" y="6557123"/>
            <a:ext cx="1487488" cy="298800"/>
          </a:xfrm>
          <a:prstGeom prst="rect">
            <a:avLst/>
          </a:prstGeom>
          <a:noFill/>
        </p:spPr>
        <p:txBody>
          <a:bodyPr wrap="none" lIns="36000" tIns="36000" rIns="36000" bIns="36000" rtlCol="0" anchor="ctr">
            <a:noAutofit/>
          </a:bodyPr>
          <a:lstStyle/>
          <a:p>
            <a:pPr algn="l"/>
            <a:r>
              <a:rPr lang="en-AU" sz="700" b="0" cap="all" baseline="0" dirty="0">
                <a:solidFill>
                  <a:schemeClr val="bg1"/>
                </a:solidFill>
              </a:rPr>
              <a:t>STRICTLY CONFIDENTIAL</a:t>
            </a:r>
          </a:p>
        </p:txBody>
      </p:sp>
      <p:grpSp>
        <p:nvGrpSpPr>
          <p:cNvPr id="56" name="Group 55"/>
          <p:cNvGrpSpPr/>
          <p:nvPr userDrawn="1"/>
        </p:nvGrpSpPr>
        <p:grpSpPr>
          <a:xfrm>
            <a:off x="10754208" y="6654523"/>
            <a:ext cx="1148500" cy="104000"/>
            <a:chOff x="8756844" y="6671575"/>
            <a:chExt cx="933156" cy="104000"/>
          </a:xfrm>
        </p:grpSpPr>
        <p:sp>
          <p:nvSpPr>
            <p:cNvPr id="57" name="Freeform 9"/>
            <p:cNvSpPr>
              <a:spLocks/>
            </p:cNvSpPr>
            <p:nvPr/>
          </p:nvSpPr>
          <p:spPr bwMode="auto">
            <a:xfrm>
              <a:off x="8756844" y="6692294"/>
              <a:ext cx="43875" cy="601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217" y="0"/>
                </a:cxn>
                <a:cxn ang="0">
                  <a:pos x="217" y="61"/>
                </a:cxn>
                <a:cxn ang="0">
                  <a:pos x="77" y="61"/>
                </a:cxn>
                <a:cxn ang="0">
                  <a:pos x="77" y="121"/>
                </a:cxn>
                <a:cxn ang="0">
                  <a:pos x="199" y="121"/>
                </a:cxn>
                <a:cxn ang="0">
                  <a:pos x="199" y="181"/>
                </a:cxn>
                <a:cxn ang="0">
                  <a:pos x="77" y="181"/>
                </a:cxn>
                <a:cxn ang="0">
                  <a:pos x="77" y="294"/>
                </a:cxn>
                <a:cxn ang="0">
                  <a:pos x="0" y="294"/>
                </a:cxn>
                <a:cxn ang="0">
                  <a:pos x="0" y="0"/>
                </a:cxn>
              </a:cxnLst>
              <a:rect l="0" t="0" r="r" b="b"/>
              <a:pathLst>
                <a:path w="217" h="294">
                  <a:moveTo>
                    <a:pt x="0" y="0"/>
                  </a:moveTo>
                  <a:lnTo>
                    <a:pt x="217" y="0"/>
                  </a:lnTo>
                  <a:lnTo>
                    <a:pt x="217" y="61"/>
                  </a:lnTo>
                  <a:lnTo>
                    <a:pt x="77" y="61"/>
                  </a:lnTo>
                  <a:lnTo>
                    <a:pt x="77" y="121"/>
                  </a:lnTo>
                  <a:lnTo>
                    <a:pt x="199" y="121"/>
                  </a:lnTo>
                  <a:lnTo>
                    <a:pt x="199" y="181"/>
                  </a:lnTo>
                  <a:lnTo>
                    <a:pt x="77" y="181"/>
                  </a:lnTo>
                  <a:lnTo>
                    <a:pt x="77" y="294"/>
                  </a:lnTo>
                  <a:lnTo>
                    <a:pt x="0" y="294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58" name="Freeform 10"/>
            <p:cNvSpPr>
              <a:spLocks noEditPoints="1"/>
            </p:cNvSpPr>
            <p:nvPr/>
          </p:nvSpPr>
          <p:spPr bwMode="auto">
            <a:xfrm>
              <a:off x="8809250" y="6691482"/>
              <a:ext cx="58906" cy="62156"/>
            </a:xfrm>
            <a:custGeom>
              <a:avLst/>
              <a:gdLst/>
              <a:ahLst/>
              <a:cxnLst>
                <a:cxn ang="0">
                  <a:pos x="145" y="0"/>
                </a:cxn>
                <a:cxn ang="0">
                  <a:pos x="179" y="3"/>
                </a:cxn>
                <a:cxn ang="0">
                  <a:pos x="208" y="13"/>
                </a:cxn>
                <a:cxn ang="0">
                  <a:pos x="232" y="27"/>
                </a:cxn>
                <a:cxn ang="0">
                  <a:pos x="253" y="45"/>
                </a:cxn>
                <a:cxn ang="0">
                  <a:pos x="270" y="67"/>
                </a:cxn>
                <a:cxn ang="0">
                  <a:pos x="281" y="94"/>
                </a:cxn>
                <a:cxn ang="0">
                  <a:pos x="288" y="123"/>
                </a:cxn>
                <a:cxn ang="0">
                  <a:pos x="291" y="154"/>
                </a:cxn>
                <a:cxn ang="0">
                  <a:pos x="288" y="185"/>
                </a:cxn>
                <a:cxn ang="0">
                  <a:pos x="281" y="214"/>
                </a:cxn>
                <a:cxn ang="0">
                  <a:pos x="270" y="239"/>
                </a:cxn>
                <a:cxn ang="0">
                  <a:pos x="253" y="261"/>
                </a:cxn>
                <a:cxn ang="0">
                  <a:pos x="232" y="281"/>
                </a:cxn>
                <a:cxn ang="0">
                  <a:pos x="208" y="295"/>
                </a:cxn>
                <a:cxn ang="0">
                  <a:pos x="179" y="303"/>
                </a:cxn>
                <a:cxn ang="0">
                  <a:pos x="145" y="306"/>
                </a:cxn>
                <a:cxn ang="0">
                  <a:pos x="113" y="303"/>
                </a:cxn>
                <a:cxn ang="0">
                  <a:pos x="84" y="295"/>
                </a:cxn>
                <a:cxn ang="0">
                  <a:pos x="59" y="281"/>
                </a:cxn>
                <a:cxn ang="0">
                  <a:pos x="38" y="261"/>
                </a:cxn>
                <a:cxn ang="0">
                  <a:pos x="23" y="239"/>
                </a:cxn>
                <a:cxn ang="0">
                  <a:pos x="10" y="214"/>
                </a:cxn>
                <a:cxn ang="0">
                  <a:pos x="3" y="185"/>
                </a:cxn>
                <a:cxn ang="0">
                  <a:pos x="0" y="154"/>
                </a:cxn>
                <a:cxn ang="0">
                  <a:pos x="3" y="123"/>
                </a:cxn>
                <a:cxn ang="0">
                  <a:pos x="10" y="94"/>
                </a:cxn>
                <a:cxn ang="0">
                  <a:pos x="23" y="67"/>
                </a:cxn>
                <a:cxn ang="0">
                  <a:pos x="38" y="45"/>
                </a:cxn>
                <a:cxn ang="0">
                  <a:pos x="59" y="27"/>
                </a:cxn>
                <a:cxn ang="0">
                  <a:pos x="84" y="13"/>
                </a:cxn>
                <a:cxn ang="0">
                  <a:pos x="113" y="3"/>
                </a:cxn>
                <a:cxn ang="0">
                  <a:pos x="145" y="0"/>
                </a:cxn>
                <a:cxn ang="0">
                  <a:pos x="145" y="240"/>
                </a:cxn>
                <a:cxn ang="0">
                  <a:pos x="165" y="238"/>
                </a:cxn>
                <a:cxn ang="0">
                  <a:pos x="180" y="231"/>
                </a:cxn>
                <a:cxn ang="0">
                  <a:pos x="193" y="219"/>
                </a:cxn>
                <a:cxn ang="0">
                  <a:pos x="203" y="206"/>
                </a:cxn>
                <a:cxn ang="0">
                  <a:pos x="210" y="190"/>
                </a:cxn>
                <a:cxn ang="0">
                  <a:pos x="213" y="172"/>
                </a:cxn>
                <a:cxn ang="0">
                  <a:pos x="214" y="154"/>
                </a:cxn>
                <a:cxn ang="0">
                  <a:pos x="213" y="134"/>
                </a:cxn>
                <a:cxn ang="0">
                  <a:pos x="210" y="118"/>
                </a:cxn>
                <a:cxn ang="0">
                  <a:pos x="203" y="101"/>
                </a:cxn>
                <a:cxn ang="0">
                  <a:pos x="193" y="87"/>
                </a:cxn>
                <a:cxn ang="0">
                  <a:pos x="180" y="76"/>
                </a:cxn>
                <a:cxn ang="0">
                  <a:pos x="165" y="69"/>
                </a:cxn>
                <a:cxn ang="0">
                  <a:pos x="145" y="66"/>
                </a:cxn>
                <a:cxn ang="0">
                  <a:pos x="126" y="69"/>
                </a:cxn>
                <a:cxn ang="0">
                  <a:pos x="111" y="76"/>
                </a:cxn>
                <a:cxn ang="0">
                  <a:pos x="98" y="87"/>
                </a:cxn>
                <a:cxn ang="0">
                  <a:pos x="88" y="101"/>
                </a:cxn>
                <a:cxn ang="0">
                  <a:pos x="83" y="118"/>
                </a:cxn>
                <a:cxn ang="0">
                  <a:pos x="78" y="134"/>
                </a:cxn>
                <a:cxn ang="0">
                  <a:pos x="77" y="154"/>
                </a:cxn>
                <a:cxn ang="0">
                  <a:pos x="78" y="172"/>
                </a:cxn>
                <a:cxn ang="0">
                  <a:pos x="83" y="190"/>
                </a:cxn>
                <a:cxn ang="0">
                  <a:pos x="88" y="206"/>
                </a:cxn>
                <a:cxn ang="0">
                  <a:pos x="98" y="219"/>
                </a:cxn>
                <a:cxn ang="0">
                  <a:pos x="111" y="231"/>
                </a:cxn>
                <a:cxn ang="0">
                  <a:pos x="126" y="238"/>
                </a:cxn>
                <a:cxn ang="0">
                  <a:pos x="145" y="240"/>
                </a:cxn>
              </a:cxnLst>
              <a:rect l="0" t="0" r="r" b="b"/>
              <a:pathLst>
                <a:path w="291" h="306">
                  <a:moveTo>
                    <a:pt x="145" y="0"/>
                  </a:moveTo>
                  <a:lnTo>
                    <a:pt x="179" y="3"/>
                  </a:lnTo>
                  <a:lnTo>
                    <a:pt x="208" y="13"/>
                  </a:lnTo>
                  <a:lnTo>
                    <a:pt x="232" y="27"/>
                  </a:lnTo>
                  <a:lnTo>
                    <a:pt x="253" y="45"/>
                  </a:lnTo>
                  <a:lnTo>
                    <a:pt x="270" y="67"/>
                  </a:lnTo>
                  <a:lnTo>
                    <a:pt x="281" y="94"/>
                  </a:lnTo>
                  <a:lnTo>
                    <a:pt x="288" y="123"/>
                  </a:lnTo>
                  <a:lnTo>
                    <a:pt x="291" y="154"/>
                  </a:lnTo>
                  <a:lnTo>
                    <a:pt x="288" y="185"/>
                  </a:lnTo>
                  <a:lnTo>
                    <a:pt x="281" y="214"/>
                  </a:lnTo>
                  <a:lnTo>
                    <a:pt x="270" y="239"/>
                  </a:lnTo>
                  <a:lnTo>
                    <a:pt x="253" y="261"/>
                  </a:lnTo>
                  <a:lnTo>
                    <a:pt x="232" y="281"/>
                  </a:lnTo>
                  <a:lnTo>
                    <a:pt x="208" y="295"/>
                  </a:lnTo>
                  <a:lnTo>
                    <a:pt x="179" y="303"/>
                  </a:lnTo>
                  <a:lnTo>
                    <a:pt x="145" y="306"/>
                  </a:lnTo>
                  <a:lnTo>
                    <a:pt x="113" y="303"/>
                  </a:lnTo>
                  <a:lnTo>
                    <a:pt x="84" y="295"/>
                  </a:lnTo>
                  <a:lnTo>
                    <a:pt x="59" y="281"/>
                  </a:lnTo>
                  <a:lnTo>
                    <a:pt x="38" y="261"/>
                  </a:lnTo>
                  <a:lnTo>
                    <a:pt x="23" y="239"/>
                  </a:lnTo>
                  <a:lnTo>
                    <a:pt x="10" y="214"/>
                  </a:lnTo>
                  <a:lnTo>
                    <a:pt x="3" y="185"/>
                  </a:lnTo>
                  <a:lnTo>
                    <a:pt x="0" y="154"/>
                  </a:lnTo>
                  <a:lnTo>
                    <a:pt x="3" y="123"/>
                  </a:lnTo>
                  <a:lnTo>
                    <a:pt x="10" y="94"/>
                  </a:lnTo>
                  <a:lnTo>
                    <a:pt x="23" y="67"/>
                  </a:lnTo>
                  <a:lnTo>
                    <a:pt x="38" y="45"/>
                  </a:lnTo>
                  <a:lnTo>
                    <a:pt x="59" y="27"/>
                  </a:lnTo>
                  <a:lnTo>
                    <a:pt x="84" y="13"/>
                  </a:lnTo>
                  <a:lnTo>
                    <a:pt x="113" y="3"/>
                  </a:lnTo>
                  <a:lnTo>
                    <a:pt x="145" y="0"/>
                  </a:lnTo>
                  <a:close/>
                  <a:moveTo>
                    <a:pt x="145" y="240"/>
                  </a:moveTo>
                  <a:lnTo>
                    <a:pt x="165" y="238"/>
                  </a:lnTo>
                  <a:lnTo>
                    <a:pt x="180" y="231"/>
                  </a:lnTo>
                  <a:lnTo>
                    <a:pt x="193" y="219"/>
                  </a:lnTo>
                  <a:lnTo>
                    <a:pt x="203" y="206"/>
                  </a:lnTo>
                  <a:lnTo>
                    <a:pt x="210" y="190"/>
                  </a:lnTo>
                  <a:lnTo>
                    <a:pt x="213" y="172"/>
                  </a:lnTo>
                  <a:lnTo>
                    <a:pt x="214" y="154"/>
                  </a:lnTo>
                  <a:lnTo>
                    <a:pt x="213" y="134"/>
                  </a:lnTo>
                  <a:lnTo>
                    <a:pt x="210" y="118"/>
                  </a:lnTo>
                  <a:lnTo>
                    <a:pt x="203" y="101"/>
                  </a:lnTo>
                  <a:lnTo>
                    <a:pt x="193" y="87"/>
                  </a:lnTo>
                  <a:lnTo>
                    <a:pt x="180" y="76"/>
                  </a:lnTo>
                  <a:lnTo>
                    <a:pt x="165" y="69"/>
                  </a:lnTo>
                  <a:lnTo>
                    <a:pt x="145" y="66"/>
                  </a:lnTo>
                  <a:lnTo>
                    <a:pt x="126" y="69"/>
                  </a:lnTo>
                  <a:lnTo>
                    <a:pt x="111" y="76"/>
                  </a:lnTo>
                  <a:lnTo>
                    <a:pt x="98" y="87"/>
                  </a:lnTo>
                  <a:lnTo>
                    <a:pt x="88" y="101"/>
                  </a:lnTo>
                  <a:lnTo>
                    <a:pt x="83" y="118"/>
                  </a:lnTo>
                  <a:lnTo>
                    <a:pt x="78" y="134"/>
                  </a:lnTo>
                  <a:lnTo>
                    <a:pt x="77" y="154"/>
                  </a:lnTo>
                  <a:lnTo>
                    <a:pt x="78" y="172"/>
                  </a:lnTo>
                  <a:lnTo>
                    <a:pt x="83" y="190"/>
                  </a:lnTo>
                  <a:lnTo>
                    <a:pt x="88" y="206"/>
                  </a:lnTo>
                  <a:lnTo>
                    <a:pt x="98" y="219"/>
                  </a:lnTo>
                  <a:lnTo>
                    <a:pt x="111" y="231"/>
                  </a:lnTo>
                  <a:lnTo>
                    <a:pt x="126" y="238"/>
                  </a:lnTo>
                  <a:lnTo>
                    <a:pt x="145" y="24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59" name="Freeform 11"/>
            <p:cNvSpPr>
              <a:spLocks noEditPoints="1"/>
            </p:cNvSpPr>
            <p:nvPr/>
          </p:nvSpPr>
          <p:spPr bwMode="auto">
            <a:xfrm>
              <a:off x="8879937" y="6692294"/>
              <a:ext cx="53219" cy="601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0" y="0"/>
                </a:cxn>
                <a:cxn ang="0">
                  <a:pos x="172" y="1"/>
                </a:cxn>
                <a:cxn ang="0">
                  <a:pos x="193" y="5"/>
                </a:cxn>
                <a:cxn ang="0">
                  <a:pos x="213" y="14"/>
                </a:cxn>
                <a:cxn ang="0">
                  <a:pos x="229" y="25"/>
                </a:cxn>
                <a:cxn ang="0">
                  <a:pos x="242" y="40"/>
                </a:cxn>
                <a:cxn ang="0">
                  <a:pos x="250" y="60"/>
                </a:cxn>
                <a:cxn ang="0">
                  <a:pos x="253" y="84"/>
                </a:cxn>
                <a:cxn ang="0">
                  <a:pos x="252" y="102"/>
                </a:cxn>
                <a:cxn ang="0">
                  <a:pos x="246" y="120"/>
                </a:cxn>
                <a:cxn ang="0">
                  <a:pos x="236" y="135"/>
                </a:cxn>
                <a:cxn ang="0">
                  <a:pos x="224" y="148"/>
                </a:cxn>
                <a:cxn ang="0">
                  <a:pos x="207" y="156"/>
                </a:cxn>
                <a:cxn ang="0">
                  <a:pos x="207" y="158"/>
                </a:cxn>
                <a:cxn ang="0">
                  <a:pos x="221" y="163"/>
                </a:cxn>
                <a:cxn ang="0">
                  <a:pos x="231" y="173"/>
                </a:cxn>
                <a:cxn ang="0">
                  <a:pos x="239" y="184"/>
                </a:cxn>
                <a:cxn ang="0">
                  <a:pos x="245" y="198"/>
                </a:cxn>
                <a:cxn ang="0">
                  <a:pos x="248" y="213"/>
                </a:cxn>
                <a:cxn ang="0">
                  <a:pos x="249" y="227"/>
                </a:cxn>
                <a:cxn ang="0">
                  <a:pos x="250" y="239"/>
                </a:cxn>
                <a:cxn ang="0">
                  <a:pos x="252" y="253"/>
                </a:cxn>
                <a:cxn ang="0">
                  <a:pos x="253" y="269"/>
                </a:cxn>
                <a:cxn ang="0">
                  <a:pos x="256" y="285"/>
                </a:cxn>
                <a:cxn ang="0">
                  <a:pos x="262" y="294"/>
                </a:cxn>
                <a:cxn ang="0">
                  <a:pos x="186" y="294"/>
                </a:cxn>
                <a:cxn ang="0">
                  <a:pos x="182" y="285"/>
                </a:cxn>
                <a:cxn ang="0">
                  <a:pos x="179" y="271"/>
                </a:cxn>
                <a:cxn ang="0">
                  <a:pos x="178" y="257"/>
                </a:cxn>
                <a:cxn ang="0">
                  <a:pos x="178" y="247"/>
                </a:cxn>
                <a:cxn ang="0">
                  <a:pos x="176" y="233"/>
                </a:cxn>
                <a:cxn ang="0">
                  <a:pos x="174" y="219"/>
                </a:cxn>
                <a:cxn ang="0">
                  <a:pos x="168" y="206"/>
                </a:cxn>
                <a:cxn ang="0">
                  <a:pos x="161" y="195"/>
                </a:cxn>
                <a:cxn ang="0">
                  <a:pos x="150" y="190"/>
                </a:cxn>
                <a:cxn ang="0">
                  <a:pos x="134" y="187"/>
                </a:cxn>
                <a:cxn ang="0">
                  <a:pos x="76" y="187"/>
                </a:cxn>
                <a:cxn ang="0">
                  <a:pos x="76" y="294"/>
                </a:cxn>
                <a:cxn ang="0">
                  <a:pos x="0" y="294"/>
                </a:cxn>
                <a:cxn ang="0">
                  <a:pos x="0" y="0"/>
                </a:cxn>
                <a:cxn ang="0">
                  <a:pos x="76" y="128"/>
                </a:cxn>
                <a:cxn ang="0">
                  <a:pos x="141" y="128"/>
                </a:cxn>
                <a:cxn ang="0">
                  <a:pos x="157" y="125"/>
                </a:cxn>
                <a:cxn ang="0">
                  <a:pos x="167" y="118"/>
                </a:cxn>
                <a:cxn ang="0">
                  <a:pos x="174" y="109"/>
                </a:cxn>
                <a:cxn ang="0">
                  <a:pos x="176" y="93"/>
                </a:cxn>
                <a:cxn ang="0">
                  <a:pos x="175" y="81"/>
                </a:cxn>
                <a:cxn ang="0">
                  <a:pos x="168" y="72"/>
                </a:cxn>
                <a:cxn ang="0">
                  <a:pos x="160" y="65"/>
                </a:cxn>
                <a:cxn ang="0">
                  <a:pos x="150" y="63"/>
                </a:cxn>
                <a:cxn ang="0">
                  <a:pos x="137" y="61"/>
                </a:cxn>
                <a:cxn ang="0">
                  <a:pos x="76" y="61"/>
                </a:cxn>
                <a:cxn ang="0">
                  <a:pos x="76" y="128"/>
                </a:cxn>
              </a:cxnLst>
              <a:rect l="0" t="0" r="r" b="b"/>
              <a:pathLst>
                <a:path w="262" h="294">
                  <a:moveTo>
                    <a:pt x="0" y="0"/>
                  </a:moveTo>
                  <a:lnTo>
                    <a:pt x="150" y="0"/>
                  </a:lnTo>
                  <a:lnTo>
                    <a:pt x="172" y="1"/>
                  </a:lnTo>
                  <a:lnTo>
                    <a:pt x="193" y="5"/>
                  </a:lnTo>
                  <a:lnTo>
                    <a:pt x="213" y="14"/>
                  </a:lnTo>
                  <a:lnTo>
                    <a:pt x="229" y="25"/>
                  </a:lnTo>
                  <a:lnTo>
                    <a:pt x="242" y="40"/>
                  </a:lnTo>
                  <a:lnTo>
                    <a:pt x="250" y="60"/>
                  </a:lnTo>
                  <a:lnTo>
                    <a:pt x="253" y="84"/>
                  </a:lnTo>
                  <a:lnTo>
                    <a:pt x="252" y="102"/>
                  </a:lnTo>
                  <a:lnTo>
                    <a:pt x="246" y="120"/>
                  </a:lnTo>
                  <a:lnTo>
                    <a:pt x="236" y="135"/>
                  </a:lnTo>
                  <a:lnTo>
                    <a:pt x="224" y="148"/>
                  </a:lnTo>
                  <a:lnTo>
                    <a:pt x="207" y="156"/>
                  </a:lnTo>
                  <a:lnTo>
                    <a:pt x="207" y="158"/>
                  </a:lnTo>
                  <a:lnTo>
                    <a:pt x="221" y="163"/>
                  </a:lnTo>
                  <a:lnTo>
                    <a:pt x="231" y="173"/>
                  </a:lnTo>
                  <a:lnTo>
                    <a:pt x="239" y="184"/>
                  </a:lnTo>
                  <a:lnTo>
                    <a:pt x="245" y="198"/>
                  </a:lnTo>
                  <a:lnTo>
                    <a:pt x="248" y="213"/>
                  </a:lnTo>
                  <a:lnTo>
                    <a:pt x="249" y="227"/>
                  </a:lnTo>
                  <a:lnTo>
                    <a:pt x="250" y="239"/>
                  </a:lnTo>
                  <a:lnTo>
                    <a:pt x="252" y="253"/>
                  </a:lnTo>
                  <a:lnTo>
                    <a:pt x="253" y="269"/>
                  </a:lnTo>
                  <a:lnTo>
                    <a:pt x="256" y="285"/>
                  </a:lnTo>
                  <a:lnTo>
                    <a:pt x="262" y="294"/>
                  </a:lnTo>
                  <a:lnTo>
                    <a:pt x="186" y="294"/>
                  </a:lnTo>
                  <a:lnTo>
                    <a:pt x="182" y="285"/>
                  </a:lnTo>
                  <a:lnTo>
                    <a:pt x="179" y="271"/>
                  </a:lnTo>
                  <a:lnTo>
                    <a:pt x="178" y="257"/>
                  </a:lnTo>
                  <a:lnTo>
                    <a:pt x="178" y="247"/>
                  </a:lnTo>
                  <a:lnTo>
                    <a:pt x="176" y="233"/>
                  </a:lnTo>
                  <a:lnTo>
                    <a:pt x="174" y="219"/>
                  </a:lnTo>
                  <a:lnTo>
                    <a:pt x="168" y="206"/>
                  </a:lnTo>
                  <a:lnTo>
                    <a:pt x="161" y="195"/>
                  </a:lnTo>
                  <a:lnTo>
                    <a:pt x="150" y="190"/>
                  </a:lnTo>
                  <a:lnTo>
                    <a:pt x="134" y="187"/>
                  </a:lnTo>
                  <a:lnTo>
                    <a:pt x="76" y="187"/>
                  </a:lnTo>
                  <a:lnTo>
                    <a:pt x="76" y="294"/>
                  </a:lnTo>
                  <a:lnTo>
                    <a:pt x="0" y="294"/>
                  </a:lnTo>
                  <a:lnTo>
                    <a:pt x="0" y="0"/>
                  </a:lnTo>
                  <a:close/>
                  <a:moveTo>
                    <a:pt x="76" y="128"/>
                  </a:moveTo>
                  <a:lnTo>
                    <a:pt x="141" y="128"/>
                  </a:lnTo>
                  <a:lnTo>
                    <a:pt x="157" y="125"/>
                  </a:lnTo>
                  <a:lnTo>
                    <a:pt x="167" y="118"/>
                  </a:lnTo>
                  <a:lnTo>
                    <a:pt x="174" y="109"/>
                  </a:lnTo>
                  <a:lnTo>
                    <a:pt x="176" y="93"/>
                  </a:lnTo>
                  <a:lnTo>
                    <a:pt x="175" y="81"/>
                  </a:lnTo>
                  <a:lnTo>
                    <a:pt x="168" y="72"/>
                  </a:lnTo>
                  <a:lnTo>
                    <a:pt x="160" y="65"/>
                  </a:lnTo>
                  <a:lnTo>
                    <a:pt x="150" y="63"/>
                  </a:lnTo>
                  <a:lnTo>
                    <a:pt x="137" y="61"/>
                  </a:lnTo>
                  <a:lnTo>
                    <a:pt x="76" y="61"/>
                  </a:lnTo>
                  <a:lnTo>
                    <a:pt x="76" y="128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60" name="Freeform 12"/>
            <p:cNvSpPr>
              <a:spLocks/>
            </p:cNvSpPr>
            <p:nvPr/>
          </p:nvSpPr>
          <p:spPr bwMode="auto">
            <a:xfrm>
              <a:off x="8936812" y="6692294"/>
              <a:ext cx="80438" cy="60125"/>
            </a:xfrm>
            <a:custGeom>
              <a:avLst/>
              <a:gdLst/>
              <a:ahLst/>
              <a:cxnLst>
                <a:cxn ang="0">
                  <a:pos x="315" y="294"/>
                </a:cxn>
                <a:cxn ang="0">
                  <a:pos x="239" y="294"/>
                </a:cxn>
                <a:cxn ang="0">
                  <a:pos x="198" y="92"/>
                </a:cxn>
                <a:cxn ang="0">
                  <a:pos x="158" y="294"/>
                </a:cxn>
                <a:cxn ang="0">
                  <a:pos x="79" y="294"/>
                </a:cxn>
                <a:cxn ang="0">
                  <a:pos x="0" y="0"/>
                </a:cxn>
                <a:cxn ang="0">
                  <a:pos x="77" y="0"/>
                </a:cxn>
                <a:cxn ang="0">
                  <a:pos x="118" y="215"/>
                </a:cxn>
                <a:cxn ang="0">
                  <a:pos x="162" y="0"/>
                </a:cxn>
                <a:cxn ang="0">
                  <a:pos x="234" y="0"/>
                </a:cxn>
                <a:cxn ang="0">
                  <a:pos x="278" y="215"/>
                </a:cxn>
                <a:cxn ang="0">
                  <a:pos x="279" y="215"/>
                </a:cxn>
                <a:cxn ang="0">
                  <a:pos x="320" y="0"/>
                </a:cxn>
                <a:cxn ang="0">
                  <a:pos x="396" y="0"/>
                </a:cxn>
                <a:cxn ang="0">
                  <a:pos x="315" y="294"/>
                </a:cxn>
              </a:cxnLst>
              <a:rect l="0" t="0" r="r" b="b"/>
              <a:pathLst>
                <a:path w="396" h="294">
                  <a:moveTo>
                    <a:pt x="315" y="294"/>
                  </a:moveTo>
                  <a:lnTo>
                    <a:pt x="239" y="294"/>
                  </a:lnTo>
                  <a:lnTo>
                    <a:pt x="198" y="92"/>
                  </a:lnTo>
                  <a:lnTo>
                    <a:pt x="158" y="294"/>
                  </a:lnTo>
                  <a:lnTo>
                    <a:pt x="79" y="294"/>
                  </a:lnTo>
                  <a:lnTo>
                    <a:pt x="0" y="0"/>
                  </a:lnTo>
                  <a:lnTo>
                    <a:pt x="77" y="0"/>
                  </a:lnTo>
                  <a:lnTo>
                    <a:pt x="118" y="215"/>
                  </a:lnTo>
                  <a:lnTo>
                    <a:pt x="162" y="0"/>
                  </a:lnTo>
                  <a:lnTo>
                    <a:pt x="234" y="0"/>
                  </a:lnTo>
                  <a:lnTo>
                    <a:pt x="278" y="215"/>
                  </a:lnTo>
                  <a:lnTo>
                    <a:pt x="279" y="215"/>
                  </a:lnTo>
                  <a:lnTo>
                    <a:pt x="320" y="0"/>
                  </a:lnTo>
                  <a:lnTo>
                    <a:pt x="396" y="0"/>
                  </a:lnTo>
                  <a:lnTo>
                    <a:pt x="315" y="294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61" name="Freeform 13"/>
            <p:cNvSpPr>
              <a:spLocks noEditPoints="1"/>
            </p:cNvSpPr>
            <p:nvPr/>
          </p:nvSpPr>
          <p:spPr bwMode="auto">
            <a:xfrm>
              <a:off x="9017250" y="6692294"/>
              <a:ext cx="60125" cy="60125"/>
            </a:xfrm>
            <a:custGeom>
              <a:avLst/>
              <a:gdLst/>
              <a:ahLst/>
              <a:cxnLst>
                <a:cxn ang="0">
                  <a:pos x="109" y="0"/>
                </a:cxn>
                <a:cxn ang="0">
                  <a:pos x="187" y="0"/>
                </a:cxn>
                <a:cxn ang="0">
                  <a:pos x="298" y="294"/>
                </a:cxn>
                <a:cxn ang="0">
                  <a:pos x="217" y="294"/>
                </a:cxn>
                <a:cxn ang="0">
                  <a:pos x="200" y="241"/>
                </a:cxn>
                <a:cxn ang="0">
                  <a:pos x="96" y="241"/>
                </a:cxn>
                <a:cxn ang="0">
                  <a:pos x="78" y="294"/>
                </a:cxn>
                <a:cxn ang="0">
                  <a:pos x="0" y="294"/>
                </a:cxn>
                <a:cxn ang="0">
                  <a:pos x="109" y="0"/>
                </a:cxn>
                <a:cxn ang="0">
                  <a:pos x="115" y="184"/>
                </a:cxn>
                <a:cxn ang="0">
                  <a:pos x="182" y="184"/>
                </a:cxn>
                <a:cxn ang="0">
                  <a:pos x="148" y="82"/>
                </a:cxn>
                <a:cxn ang="0">
                  <a:pos x="115" y="184"/>
                </a:cxn>
              </a:cxnLst>
              <a:rect l="0" t="0" r="r" b="b"/>
              <a:pathLst>
                <a:path w="298" h="294">
                  <a:moveTo>
                    <a:pt x="109" y="0"/>
                  </a:moveTo>
                  <a:lnTo>
                    <a:pt x="187" y="0"/>
                  </a:lnTo>
                  <a:lnTo>
                    <a:pt x="298" y="294"/>
                  </a:lnTo>
                  <a:lnTo>
                    <a:pt x="217" y="294"/>
                  </a:lnTo>
                  <a:lnTo>
                    <a:pt x="200" y="241"/>
                  </a:lnTo>
                  <a:lnTo>
                    <a:pt x="96" y="241"/>
                  </a:lnTo>
                  <a:lnTo>
                    <a:pt x="78" y="294"/>
                  </a:lnTo>
                  <a:lnTo>
                    <a:pt x="0" y="294"/>
                  </a:lnTo>
                  <a:lnTo>
                    <a:pt x="109" y="0"/>
                  </a:lnTo>
                  <a:close/>
                  <a:moveTo>
                    <a:pt x="115" y="184"/>
                  </a:moveTo>
                  <a:lnTo>
                    <a:pt x="182" y="184"/>
                  </a:lnTo>
                  <a:lnTo>
                    <a:pt x="148" y="82"/>
                  </a:lnTo>
                  <a:lnTo>
                    <a:pt x="115" y="184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62" name="Freeform 14"/>
            <p:cNvSpPr>
              <a:spLocks noEditPoints="1"/>
            </p:cNvSpPr>
            <p:nvPr/>
          </p:nvSpPr>
          <p:spPr bwMode="auto">
            <a:xfrm>
              <a:off x="9085094" y="6692294"/>
              <a:ext cx="53219" cy="601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51" y="0"/>
                </a:cxn>
                <a:cxn ang="0">
                  <a:pos x="173" y="1"/>
                </a:cxn>
                <a:cxn ang="0">
                  <a:pos x="194" y="5"/>
                </a:cxn>
                <a:cxn ang="0">
                  <a:pos x="214" y="14"/>
                </a:cxn>
                <a:cxn ang="0">
                  <a:pos x="231" y="25"/>
                </a:cxn>
                <a:cxn ang="0">
                  <a:pos x="243" y="40"/>
                </a:cxn>
                <a:cxn ang="0">
                  <a:pos x="252" y="60"/>
                </a:cxn>
                <a:cxn ang="0">
                  <a:pos x="254" y="84"/>
                </a:cxn>
                <a:cxn ang="0">
                  <a:pos x="253" y="102"/>
                </a:cxn>
                <a:cxn ang="0">
                  <a:pos x="248" y="120"/>
                </a:cxn>
                <a:cxn ang="0">
                  <a:pos x="238" y="135"/>
                </a:cxn>
                <a:cxn ang="0">
                  <a:pos x="224" y="148"/>
                </a:cxn>
                <a:cxn ang="0">
                  <a:pos x="207" y="156"/>
                </a:cxn>
                <a:cxn ang="0">
                  <a:pos x="207" y="158"/>
                </a:cxn>
                <a:cxn ang="0">
                  <a:pos x="221" y="163"/>
                </a:cxn>
                <a:cxn ang="0">
                  <a:pos x="232" y="173"/>
                </a:cxn>
                <a:cxn ang="0">
                  <a:pos x="239" y="184"/>
                </a:cxn>
                <a:cxn ang="0">
                  <a:pos x="245" y="198"/>
                </a:cxn>
                <a:cxn ang="0">
                  <a:pos x="249" y="213"/>
                </a:cxn>
                <a:cxn ang="0">
                  <a:pos x="250" y="227"/>
                </a:cxn>
                <a:cxn ang="0">
                  <a:pos x="252" y="239"/>
                </a:cxn>
                <a:cxn ang="0">
                  <a:pos x="253" y="253"/>
                </a:cxn>
                <a:cxn ang="0">
                  <a:pos x="254" y="269"/>
                </a:cxn>
                <a:cxn ang="0">
                  <a:pos x="257" y="285"/>
                </a:cxn>
                <a:cxn ang="0">
                  <a:pos x="263" y="294"/>
                </a:cxn>
                <a:cxn ang="0">
                  <a:pos x="187" y="294"/>
                </a:cxn>
                <a:cxn ang="0">
                  <a:pos x="183" y="285"/>
                </a:cxn>
                <a:cxn ang="0">
                  <a:pos x="180" y="271"/>
                </a:cxn>
                <a:cxn ang="0">
                  <a:pos x="179" y="257"/>
                </a:cxn>
                <a:cxn ang="0">
                  <a:pos x="179" y="247"/>
                </a:cxn>
                <a:cxn ang="0">
                  <a:pos x="178" y="233"/>
                </a:cxn>
                <a:cxn ang="0">
                  <a:pos x="175" y="219"/>
                </a:cxn>
                <a:cxn ang="0">
                  <a:pos x="169" y="206"/>
                </a:cxn>
                <a:cxn ang="0">
                  <a:pos x="162" y="195"/>
                </a:cxn>
                <a:cxn ang="0">
                  <a:pos x="151" y="190"/>
                </a:cxn>
                <a:cxn ang="0">
                  <a:pos x="136" y="187"/>
                </a:cxn>
                <a:cxn ang="0">
                  <a:pos x="77" y="187"/>
                </a:cxn>
                <a:cxn ang="0">
                  <a:pos x="77" y="294"/>
                </a:cxn>
                <a:cxn ang="0">
                  <a:pos x="0" y="294"/>
                </a:cxn>
                <a:cxn ang="0">
                  <a:pos x="0" y="0"/>
                </a:cxn>
                <a:cxn ang="0">
                  <a:pos x="77" y="128"/>
                </a:cxn>
                <a:cxn ang="0">
                  <a:pos x="141" y="128"/>
                </a:cxn>
                <a:cxn ang="0">
                  <a:pos x="157" y="125"/>
                </a:cxn>
                <a:cxn ang="0">
                  <a:pos x="168" y="118"/>
                </a:cxn>
                <a:cxn ang="0">
                  <a:pos x="175" y="109"/>
                </a:cxn>
                <a:cxn ang="0">
                  <a:pos x="178" y="93"/>
                </a:cxn>
                <a:cxn ang="0">
                  <a:pos x="176" y="81"/>
                </a:cxn>
                <a:cxn ang="0">
                  <a:pos x="169" y="72"/>
                </a:cxn>
                <a:cxn ang="0">
                  <a:pos x="161" y="65"/>
                </a:cxn>
                <a:cxn ang="0">
                  <a:pos x="151" y="63"/>
                </a:cxn>
                <a:cxn ang="0">
                  <a:pos x="139" y="61"/>
                </a:cxn>
                <a:cxn ang="0">
                  <a:pos x="77" y="61"/>
                </a:cxn>
                <a:cxn ang="0">
                  <a:pos x="77" y="128"/>
                </a:cxn>
              </a:cxnLst>
              <a:rect l="0" t="0" r="r" b="b"/>
              <a:pathLst>
                <a:path w="263" h="294">
                  <a:moveTo>
                    <a:pt x="0" y="0"/>
                  </a:moveTo>
                  <a:lnTo>
                    <a:pt x="151" y="0"/>
                  </a:lnTo>
                  <a:lnTo>
                    <a:pt x="173" y="1"/>
                  </a:lnTo>
                  <a:lnTo>
                    <a:pt x="194" y="5"/>
                  </a:lnTo>
                  <a:lnTo>
                    <a:pt x="214" y="14"/>
                  </a:lnTo>
                  <a:lnTo>
                    <a:pt x="231" y="25"/>
                  </a:lnTo>
                  <a:lnTo>
                    <a:pt x="243" y="40"/>
                  </a:lnTo>
                  <a:lnTo>
                    <a:pt x="252" y="60"/>
                  </a:lnTo>
                  <a:lnTo>
                    <a:pt x="254" y="84"/>
                  </a:lnTo>
                  <a:lnTo>
                    <a:pt x="253" y="102"/>
                  </a:lnTo>
                  <a:lnTo>
                    <a:pt x="248" y="120"/>
                  </a:lnTo>
                  <a:lnTo>
                    <a:pt x="238" y="135"/>
                  </a:lnTo>
                  <a:lnTo>
                    <a:pt x="224" y="148"/>
                  </a:lnTo>
                  <a:lnTo>
                    <a:pt x="207" y="156"/>
                  </a:lnTo>
                  <a:lnTo>
                    <a:pt x="207" y="158"/>
                  </a:lnTo>
                  <a:lnTo>
                    <a:pt x="221" y="163"/>
                  </a:lnTo>
                  <a:lnTo>
                    <a:pt x="232" y="173"/>
                  </a:lnTo>
                  <a:lnTo>
                    <a:pt x="239" y="184"/>
                  </a:lnTo>
                  <a:lnTo>
                    <a:pt x="245" y="198"/>
                  </a:lnTo>
                  <a:lnTo>
                    <a:pt x="249" y="213"/>
                  </a:lnTo>
                  <a:lnTo>
                    <a:pt x="250" y="227"/>
                  </a:lnTo>
                  <a:lnTo>
                    <a:pt x="252" y="239"/>
                  </a:lnTo>
                  <a:lnTo>
                    <a:pt x="253" y="253"/>
                  </a:lnTo>
                  <a:lnTo>
                    <a:pt x="254" y="269"/>
                  </a:lnTo>
                  <a:lnTo>
                    <a:pt x="257" y="285"/>
                  </a:lnTo>
                  <a:lnTo>
                    <a:pt x="263" y="294"/>
                  </a:lnTo>
                  <a:lnTo>
                    <a:pt x="187" y="294"/>
                  </a:lnTo>
                  <a:lnTo>
                    <a:pt x="183" y="285"/>
                  </a:lnTo>
                  <a:lnTo>
                    <a:pt x="180" y="271"/>
                  </a:lnTo>
                  <a:lnTo>
                    <a:pt x="179" y="257"/>
                  </a:lnTo>
                  <a:lnTo>
                    <a:pt x="179" y="247"/>
                  </a:lnTo>
                  <a:lnTo>
                    <a:pt x="178" y="233"/>
                  </a:lnTo>
                  <a:lnTo>
                    <a:pt x="175" y="219"/>
                  </a:lnTo>
                  <a:lnTo>
                    <a:pt x="169" y="206"/>
                  </a:lnTo>
                  <a:lnTo>
                    <a:pt x="162" y="195"/>
                  </a:lnTo>
                  <a:lnTo>
                    <a:pt x="151" y="190"/>
                  </a:lnTo>
                  <a:lnTo>
                    <a:pt x="136" y="187"/>
                  </a:lnTo>
                  <a:lnTo>
                    <a:pt x="77" y="187"/>
                  </a:lnTo>
                  <a:lnTo>
                    <a:pt x="77" y="294"/>
                  </a:lnTo>
                  <a:lnTo>
                    <a:pt x="0" y="294"/>
                  </a:lnTo>
                  <a:lnTo>
                    <a:pt x="0" y="0"/>
                  </a:lnTo>
                  <a:close/>
                  <a:moveTo>
                    <a:pt x="77" y="128"/>
                  </a:moveTo>
                  <a:lnTo>
                    <a:pt x="141" y="128"/>
                  </a:lnTo>
                  <a:lnTo>
                    <a:pt x="157" y="125"/>
                  </a:lnTo>
                  <a:lnTo>
                    <a:pt x="168" y="118"/>
                  </a:lnTo>
                  <a:lnTo>
                    <a:pt x="175" y="109"/>
                  </a:lnTo>
                  <a:lnTo>
                    <a:pt x="178" y="93"/>
                  </a:lnTo>
                  <a:lnTo>
                    <a:pt x="176" y="81"/>
                  </a:lnTo>
                  <a:lnTo>
                    <a:pt x="169" y="72"/>
                  </a:lnTo>
                  <a:lnTo>
                    <a:pt x="161" y="65"/>
                  </a:lnTo>
                  <a:lnTo>
                    <a:pt x="151" y="63"/>
                  </a:lnTo>
                  <a:lnTo>
                    <a:pt x="139" y="61"/>
                  </a:lnTo>
                  <a:lnTo>
                    <a:pt x="77" y="61"/>
                  </a:lnTo>
                  <a:lnTo>
                    <a:pt x="77" y="128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63" name="Freeform 15"/>
            <p:cNvSpPr>
              <a:spLocks noEditPoints="1"/>
            </p:cNvSpPr>
            <p:nvPr/>
          </p:nvSpPr>
          <p:spPr bwMode="auto">
            <a:xfrm>
              <a:off x="9148875" y="6692294"/>
              <a:ext cx="55250" cy="60125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127" y="0"/>
                </a:cxn>
                <a:cxn ang="0">
                  <a:pos x="159" y="3"/>
                </a:cxn>
                <a:cxn ang="0">
                  <a:pos x="187" y="10"/>
                </a:cxn>
                <a:cxn ang="0">
                  <a:pos x="212" y="22"/>
                </a:cxn>
                <a:cxn ang="0">
                  <a:pos x="231" y="39"/>
                </a:cxn>
                <a:cxn ang="0">
                  <a:pos x="248" y="60"/>
                </a:cxn>
                <a:cxn ang="0">
                  <a:pos x="261" y="85"/>
                </a:cxn>
                <a:cxn ang="0">
                  <a:pos x="268" y="114"/>
                </a:cxn>
                <a:cxn ang="0">
                  <a:pos x="271" y="146"/>
                </a:cxn>
                <a:cxn ang="0">
                  <a:pos x="268" y="180"/>
                </a:cxn>
                <a:cxn ang="0">
                  <a:pos x="261" y="211"/>
                </a:cxn>
                <a:cxn ang="0">
                  <a:pos x="248" y="236"/>
                </a:cxn>
                <a:cxn ang="0">
                  <a:pos x="231" y="257"/>
                </a:cxn>
                <a:cxn ang="0">
                  <a:pos x="212" y="274"/>
                </a:cxn>
                <a:cxn ang="0">
                  <a:pos x="187" y="285"/>
                </a:cxn>
                <a:cxn ang="0">
                  <a:pos x="159" y="292"/>
                </a:cxn>
                <a:cxn ang="0">
                  <a:pos x="127" y="294"/>
                </a:cxn>
                <a:cxn ang="0">
                  <a:pos x="0" y="294"/>
                </a:cxn>
                <a:cxn ang="0">
                  <a:pos x="0" y="0"/>
                </a:cxn>
                <a:cxn ang="0">
                  <a:pos x="266" y="145"/>
                </a:cxn>
                <a:cxn ang="0">
                  <a:pos x="76" y="42"/>
                </a:cxn>
                <a:cxn ang="0">
                  <a:pos x="76" y="253"/>
                </a:cxn>
                <a:cxn ang="0">
                  <a:pos x="266" y="145"/>
                </a:cxn>
              </a:cxnLst>
              <a:rect l="0" t="0" r="r" b="b"/>
              <a:pathLst>
                <a:path w="271" h="294">
                  <a:moveTo>
                    <a:pt x="0" y="0"/>
                  </a:moveTo>
                  <a:lnTo>
                    <a:pt x="127" y="0"/>
                  </a:lnTo>
                  <a:lnTo>
                    <a:pt x="159" y="3"/>
                  </a:lnTo>
                  <a:lnTo>
                    <a:pt x="187" y="10"/>
                  </a:lnTo>
                  <a:lnTo>
                    <a:pt x="212" y="22"/>
                  </a:lnTo>
                  <a:lnTo>
                    <a:pt x="231" y="39"/>
                  </a:lnTo>
                  <a:lnTo>
                    <a:pt x="248" y="60"/>
                  </a:lnTo>
                  <a:lnTo>
                    <a:pt x="261" y="85"/>
                  </a:lnTo>
                  <a:lnTo>
                    <a:pt x="268" y="114"/>
                  </a:lnTo>
                  <a:lnTo>
                    <a:pt x="271" y="146"/>
                  </a:lnTo>
                  <a:lnTo>
                    <a:pt x="268" y="180"/>
                  </a:lnTo>
                  <a:lnTo>
                    <a:pt x="261" y="211"/>
                  </a:lnTo>
                  <a:lnTo>
                    <a:pt x="248" y="236"/>
                  </a:lnTo>
                  <a:lnTo>
                    <a:pt x="231" y="257"/>
                  </a:lnTo>
                  <a:lnTo>
                    <a:pt x="212" y="274"/>
                  </a:lnTo>
                  <a:lnTo>
                    <a:pt x="187" y="285"/>
                  </a:lnTo>
                  <a:lnTo>
                    <a:pt x="159" y="292"/>
                  </a:lnTo>
                  <a:lnTo>
                    <a:pt x="127" y="294"/>
                  </a:lnTo>
                  <a:lnTo>
                    <a:pt x="0" y="294"/>
                  </a:lnTo>
                  <a:lnTo>
                    <a:pt x="0" y="0"/>
                  </a:lnTo>
                  <a:close/>
                  <a:moveTo>
                    <a:pt x="266" y="145"/>
                  </a:moveTo>
                  <a:lnTo>
                    <a:pt x="76" y="42"/>
                  </a:lnTo>
                  <a:lnTo>
                    <a:pt x="76" y="253"/>
                  </a:lnTo>
                  <a:lnTo>
                    <a:pt x="266" y="145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64" name="Freeform 16"/>
            <p:cNvSpPr>
              <a:spLocks/>
            </p:cNvSpPr>
            <p:nvPr/>
          </p:nvSpPr>
          <p:spPr bwMode="auto">
            <a:xfrm>
              <a:off x="9241094" y="6676450"/>
              <a:ext cx="28844" cy="76375"/>
            </a:xfrm>
            <a:custGeom>
              <a:avLst/>
              <a:gdLst/>
              <a:ahLst/>
              <a:cxnLst>
                <a:cxn ang="0">
                  <a:pos x="87" y="87"/>
                </a:cxn>
                <a:cxn ang="0">
                  <a:pos x="144" y="87"/>
                </a:cxn>
                <a:cxn ang="0">
                  <a:pos x="144" y="116"/>
                </a:cxn>
                <a:cxn ang="0">
                  <a:pos x="87" y="116"/>
                </a:cxn>
                <a:cxn ang="0">
                  <a:pos x="87" y="323"/>
                </a:cxn>
                <a:cxn ang="0">
                  <a:pos x="90" y="333"/>
                </a:cxn>
                <a:cxn ang="0">
                  <a:pos x="94" y="341"/>
                </a:cxn>
                <a:cxn ang="0">
                  <a:pos x="102" y="345"/>
                </a:cxn>
                <a:cxn ang="0">
                  <a:pos x="115" y="348"/>
                </a:cxn>
                <a:cxn ang="0">
                  <a:pos x="144" y="347"/>
                </a:cxn>
                <a:cxn ang="0">
                  <a:pos x="144" y="376"/>
                </a:cxn>
                <a:cxn ang="0">
                  <a:pos x="129" y="377"/>
                </a:cxn>
                <a:cxn ang="0">
                  <a:pos x="113" y="377"/>
                </a:cxn>
                <a:cxn ang="0">
                  <a:pos x="92" y="376"/>
                </a:cxn>
                <a:cxn ang="0">
                  <a:pos x="77" y="372"/>
                </a:cxn>
                <a:cxn ang="0">
                  <a:pos x="64" y="363"/>
                </a:cxn>
                <a:cxn ang="0">
                  <a:pos x="56" y="351"/>
                </a:cxn>
                <a:cxn ang="0">
                  <a:pos x="52" y="335"/>
                </a:cxn>
                <a:cxn ang="0">
                  <a:pos x="50" y="313"/>
                </a:cxn>
                <a:cxn ang="0">
                  <a:pos x="50" y="116"/>
                </a:cxn>
                <a:cxn ang="0">
                  <a:pos x="0" y="116"/>
                </a:cxn>
                <a:cxn ang="0">
                  <a:pos x="0" y="87"/>
                </a:cxn>
                <a:cxn ang="0">
                  <a:pos x="50" y="87"/>
                </a:cxn>
                <a:cxn ang="0">
                  <a:pos x="50" y="0"/>
                </a:cxn>
                <a:cxn ang="0">
                  <a:pos x="87" y="0"/>
                </a:cxn>
                <a:cxn ang="0">
                  <a:pos x="87" y="87"/>
                </a:cxn>
              </a:cxnLst>
              <a:rect l="0" t="0" r="r" b="b"/>
              <a:pathLst>
                <a:path w="144" h="377">
                  <a:moveTo>
                    <a:pt x="87" y="87"/>
                  </a:moveTo>
                  <a:lnTo>
                    <a:pt x="144" y="87"/>
                  </a:lnTo>
                  <a:lnTo>
                    <a:pt x="144" y="116"/>
                  </a:lnTo>
                  <a:lnTo>
                    <a:pt x="87" y="116"/>
                  </a:lnTo>
                  <a:lnTo>
                    <a:pt x="87" y="323"/>
                  </a:lnTo>
                  <a:lnTo>
                    <a:pt x="90" y="333"/>
                  </a:lnTo>
                  <a:lnTo>
                    <a:pt x="94" y="341"/>
                  </a:lnTo>
                  <a:lnTo>
                    <a:pt x="102" y="345"/>
                  </a:lnTo>
                  <a:lnTo>
                    <a:pt x="115" y="348"/>
                  </a:lnTo>
                  <a:lnTo>
                    <a:pt x="144" y="347"/>
                  </a:lnTo>
                  <a:lnTo>
                    <a:pt x="144" y="376"/>
                  </a:lnTo>
                  <a:lnTo>
                    <a:pt x="129" y="377"/>
                  </a:lnTo>
                  <a:lnTo>
                    <a:pt x="113" y="377"/>
                  </a:lnTo>
                  <a:lnTo>
                    <a:pt x="92" y="376"/>
                  </a:lnTo>
                  <a:lnTo>
                    <a:pt x="77" y="372"/>
                  </a:lnTo>
                  <a:lnTo>
                    <a:pt x="64" y="363"/>
                  </a:lnTo>
                  <a:lnTo>
                    <a:pt x="56" y="351"/>
                  </a:lnTo>
                  <a:lnTo>
                    <a:pt x="52" y="335"/>
                  </a:lnTo>
                  <a:lnTo>
                    <a:pt x="50" y="313"/>
                  </a:lnTo>
                  <a:lnTo>
                    <a:pt x="50" y="116"/>
                  </a:lnTo>
                  <a:lnTo>
                    <a:pt x="0" y="116"/>
                  </a:lnTo>
                  <a:lnTo>
                    <a:pt x="0" y="87"/>
                  </a:lnTo>
                  <a:lnTo>
                    <a:pt x="50" y="87"/>
                  </a:lnTo>
                  <a:lnTo>
                    <a:pt x="50" y="0"/>
                  </a:lnTo>
                  <a:lnTo>
                    <a:pt x="87" y="0"/>
                  </a:lnTo>
                  <a:lnTo>
                    <a:pt x="87" y="87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65" name="Freeform 17"/>
            <p:cNvSpPr>
              <a:spLocks/>
            </p:cNvSpPr>
            <p:nvPr/>
          </p:nvSpPr>
          <p:spPr bwMode="auto">
            <a:xfrm>
              <a:off x="9291875" y="6671575"/>
              <a:ext cx="47125" cy="8084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" y="0"/>
                </a:cxn>
                <a:cxn ang="0">
                  <a:pos x="35" y="160"/>
                </a:cxn>
                <a:cxn ang="0">
                  <a:pos x="36" y="160"/>
                </a:cxn>
                <a:cxn ang="0">
                  <a:pos x="48" y="141"/>
                </a:cxn>
                <a:cxn ang="0">
                  <a:pos x="63" y="125"/>
                </a:cxn>
                <a:cxn ang="0">
                  <a:pos x="83" y="114"/>
                </a:cxn>
                <a:cxn ang="0">
                  <a:pos x="105" y="105"/>
                </a:cxn>
                <a:cxn ang="0">
                  <a:pos x="129" y="102"/>
                </a:cxn>
                <a:cxn ang="0">
                  <a:pos x="157" y="104"/>
                </a:cxn>
                <a:cxn ang="0">
                  <a:pos x="179" y="109"/>
                </a:cxn>
                <a:cxn ang="0">
                  <a:pos x="197" y="119"/>
                </a:cxn>
                <a:cxn ang="0">
                  <a:pos x="211" y="132"/>
                </a:cxn>
                <a:cxn ang="0">
                  <a:pos x="222" y="147"/>
                </a:cxn>
                <a:cxn ang="0">
                  <a:pos x="228" y="167"/>
                </a:cxn>
                <a:cxn ang="0">
                  <a:pos x="232" y="189"/>
                </a:cxn>
                <a:cxn ang="0">
                  <a:pos x="233" y="213"/>
                </a:cxn>
                <a:cxn ang="0">
                  <a:pos x="233" y="398"/>
                </a:cxn>
                <a:cxn ang="0">
                  <a:pos x="198" y="398"/>
                </a:cxn>
                <a:cxn ang="0">
                  <a:pos x="198" y="218"/>
                </a:cxn>
                <a:cxn ang="0">
                  <a:pos x="197" y="199"/>
                </a:cxn>
                <a:cxn ang="0">
                  <a:pos x="194" y="179"/>
                </a:cxn>
                <a:cxn ang="0">
                  <a:pos x="187" y="164"/>
                </a:cxn>
                <a:cxn ang="0">
                  <a:pos x="179" y="150"/>
                </a:cxn>
                <a:cxn ang="0">
                  <a:pos x="165" y="140"/>
                </a:cxn>
                <a:cxn ang="0">
                  <a:pos x="148" y="134"/>
                </a:cxn>
                <a:cxn ang="0">
                  <a:pos x="126" y="132"/>
                </a:cxn>
                <a:cxn ang="0">
                  <a:pos x="99" y="134"/>
                </a:cxn>
                <a:cxn ang="0">
                  <a:pos x="78" y="144"/>
                </a:cxn>
                <a:cxn ang="0">
                  <a:pos x="60" y="160"/>
                </a:cxn>
                <a:cxn ang="0">
                  <a:pos x="46" y="179"/>
                </a:cxn>
                <a:cxn ang="0">
                  <a:pos x="38" y="204"/>
                </a:cxn>
                <a:cxn ang="0">
                  <a:pos x="35" y="231"/>
                </a:cxn>
                <a:cxn ang="0">
                  <a:pos x="35" y="398"/>
                </a:cxn>
                <a:cxn ang="0">
                  <a:pos x="0" y="398"/>
                </a:cxn>
                <a:cxn ang="0">
                  <a:pos x="0" y="0"/>
                </a:cxn>
              </a:cxnLst>
              <a:rect l="0" t="0" r="r" b="b"/>
              <a:pathLst>
                <a:path w="233" h="398">
                  <a:moveTo>
                    <a:pt x="0" y="0"/>
                  </a:moveTo>
                  <a:lnTo>
                    <a:pt x="35" y="0"/>
                  </a:lnTo>
                  <a:lnTo>
                    <a:pt x="35" y="160"/>
                  </a:lnTo>
                  <a:lnTo>
                    <a:pt x="36" y="160"/>
                  </a:lnTo>
                  <a:lnTo>
                    <a:pt x="48" y="141"/>
                  </a:lnTo>
                  <a:lnTo>
                    <a:pt x="63" y="125"/>
                  </a:lnTo>
                  <a:lnTo>
                    <a:pt x="83" y="114"/>
                  </a:lnTo>
                  <a:lnTo>
                    <a:pt x="105" y="105"/>
                  </a:lnTo>
                  <a:lnTo>
                    <a:pt x="129" y="102"/>
                  </a:lnTo>
                  <a:lnTo>
                    <a:pt x="157" y="104"/>
                  </a:lnTo>
                  <a:lnTo>
                    <a:pt x="179" y="109"/>
                  </a:lnTo>
                  <a:lnTo>
                    <a:pt x="197" y="119"/>
                  </a:lnTo>
                  <a:lnTo>
                    <a:pt x="211" y="132"/>
                  </a:lnTo>
                  <a:lnTo>
                    <a:pt x="222" y="147"/>
                  </a:lnTo>
                  <a:lnTo>
                    <a:pt x="228" y="167"/>
                  </a:lnTo>
                  <a:lnTo>
                    <a:pt x="232" y="189"/>
                  </a:lnTo>
                  <a:lnTo>
                    <a:pt x="233" y="213"/>
                  </a:lnTo>
                  <a:lnTo>
                    <a:pt x="233" y="398"/>
                  </a:lnTo>
                  <a:lnTo>
                    <a:pt x="198" y="398"/>
                  </a:lnTo>
                  <a:lnTo>
                    <a:pt x="198" y="218"/>
                  </a:lnTo>
                  <a:lnTo>
                    <a:pt x="197" y="199"/>
                  </a:lnTo>
                  <a:lnTo>
                    <a:pt x="194" y="179"/>
                  </a:lnTo>
                  <a:lnTo>
                    <a:pt x="187" y="164"/>
                  </a:lnTo>
                  <a:lnTo>
                    <a:pt x="179" y="150"/>
                  </a:lnTo>
                  <a:lnTo>
                    <a:pt x="165" y="140"/>
                  </a:lnTo>
                  <a:lnTo>
                    <a:pt x="148" y="134"/>
                  </a:lnTo>
                  <a:lnTo>
                    <a:pt x="126" y="132"/>
                  </a:lnTo>
                  <a:lnTo>
                    <a:pt x="99" y="134"/>
                  </a:lnTo>
                  <a:lnTo>
                    <a:pt x="78" y="144"/>
                  </a:lnTo>
                  <a:lnTo>
                    <a:pt x="60" y="160"/>
                  </a:lnTo>
                  <a:lnTo>
                    <a:pt x="46" y="179"/>
                  </a:lnTo>
                  <a:lnTo>
                    <a:pt x="38" y="204"/>
                  </a:lnTo>
                  <a:lnTo>
                    <a:pt x="35" y="231"/>
                  </a:lnTo>
                  <a:lnTo>
                    <a:pt x="35" y="398"/>
                  </a:lnTo>
                  <a:lnTo>
                    <a:pt x="0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66" name="Freeform 18"/>
            <p:cNvSpPr>
              <a:spLocks noEditPoints="1"/>
            </p:cNvSpPr>
            <p:nvPr/>
          </p:nvSpPr>
          <p:spPr bwMode="auto">
            <a:xfrm>
              <a:off x="9364187" y="6671575"/>
              <a:ext cx="6906" cy="8084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" y="0"/>
                </a:cxn>
                <a:cxn ang="0">
                  <a:pos x="35" y="56"/>
                </a:cxn>
                <a:cxn ang="0">
                  <a:pos x="0" y="56"/>
                </a:cxn>
                <a:cxn ang="0">
                  <a:pos x="0" y="0"/>
                </a:cxn>
                <a:cxn ang="0">
                  <a:pos x="0" y="111"/>
                </a:cxn>
                <a:cxn ang="0">
                  <a:pos x="35" y="111"/>
                </a:cxn>
                <a:cxn ang="0">
                  <a:pos x="35" y="398"/>
                </a:cxn>
                <a:cxn ang="0">
                  <a:pos x="0" y="398"/>
                </a:cxn>
                <a:cxn ang="0">
                  <a:pos x="0" y="111"/>
                </a:cxn>
              </a:cxnLst>
              <a:rect l="0" t="0" r="r" b="b"/>
              <a:pathLst>
                <a:path w="35" h="398">
                  <a:moveTo>
                    <a:pt x="0" y="0"/>
                  </a:moveTo>
                  <a:lnTo>
                    <a:pt x="35" y="0"/>
                  </a:lnTo>
                  <a:lnTo>
                    <a:pt x="35" y="56"/>
                  </a:lnTo>
                  <a:lnTo>
                    <a:pt x="0" y="56"/>
                  </a:lnTo>
                  <a:lnTo>
                    <a:pt x="0" y="0"/>
                  </a:lnTo>
                  <a:close/>
                  <a:moveTo>
                    <a:pt x="0" y="111"/>
                  </a:moveTo>
                  <a:lnTo>
                    <a:pt x="35" y="111"/>
                  </a:lnTo>
                  <a:lnTo>
                    <a:pt x="35" y="398"/>
                  </a:lnTo>
                  <a:lnTo>
                    <a:pt x="0" y="398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67" name="Freeform 19"/>
            <p:cNvSpPr>
              <a:spLocks/>
            </p:cNvSpPr>
            <p:nvPr/>
          </p:nvSpPr>
          <p:spPr bwMode="auto">
            <a:xfrm>
              <a:off x="9396281" y="6692294"/>
              <a:ext cx="47125" cy="60125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5" y="9"/>
                </a:cxn>
                <a:cxn ang="0">
                  <a:pos x="35" y="58"/>
                </a:cxn>
                <a:cxn ang="0">
                  <a:pos x="36" y="58"/>
                </a:cxn>
                <a:cxn ang="0">
                  <a:pos x="48" y="39"/>
                </a:cxn>
                <a:cxn ang="0">
                  <a:pos x="63" y="23"/>
                </a:cxn>
                <a:cxn ang="0">
                  <a:pos x="83" y="12"/>
                </a:cxn>
                <a:cxn ang="0">
                  <a:pos x="105" y="3"/>
                </a:cxn>
                <a:cxn ang="0">
                  <a:pos x="129" y="0"/>
                </a:cxn>
                <a:cxn ang="0">
                  <a:pos x="157" y="2"/>
                </a:cxn>
                <a:cxn ang="0">
                  <a:pos x="179" y="7"/>
                </a:cxn>
                <a:cxn ang="0">
                  <a:pos x="197" y="17"/>
                </a:cxn>
                <a:cxn ang="0">
                  <a:pos x="211" y="30"/>
                </a:cxn>
                <a:cxn ang="0">
                  <a:pos x="222" y="45"/>
                </a:cxn>
                <a:cxn ang="0">
                  <a:pos x="228" y="65"/>
                </a:cxn>
                <a:cxn ang="0">
                  <a:pos x="232" y="87"/>
                </a:cxn>
                <a:cxn ang="0">
                  <a:pos x="233" y="111"/>
                </a:cxn>
                <a:cxn ang="0">
                  <a:pos x="233" y="296"/>
                </a:cxn>
                <a:cxn ang="0">
                  <a:pos x="198" y="296"/>
                </a:cxn>
                <a:cxn ang="0">
                  <a:pos x="198" y="116"/>
                </a:cxn>
                <a:cxn ang="0">
                  <a:pos x="197" y="97"/>
                </a:cxn>
                <a:cxn ang="0">
                  <a:pos x="194" y="77"/>
                </a:cxn>
                <a:cxn ang="0">
                  <a:pos x="187" y="62"/>
                </a:cxn>
                <a:cxn ang="0">
                  <a:pos x="179" y="48"/>
                </a:cxn>
                <a:cxn ang="0">
                  <a:pos x="165" y="38"/>
                </a:cxn>
                <a:cxn ang="0">
                  <a:pos x="148" y="32"/>
                </a:cxn>
                <a:cxn ang="0">
                  <a:pos x="126" y="30"/>
                </a:cxn>
                <a:cxn ang="0">
                  <a:pos x="99" y="32"/>
                </a:cxn>
                <a:cxn ang="0">
                  <a:pos x="78" y="42"/>
                </a:cxn>
                <a:cxn ang="0">
                  <a:pos x="60" y="58"/>
                </a:cxn>
                <a:cxn ang="0">
                  <a:pos x="46" y="77"/>
                </a:cxn>
                <a:cxn ang="0">
                  <a:pos x="38" y="102"/>
                </a:cxn>
                <a:cxn ang="0">
                  <a:pos x="35" y="129"/>
                </a:cxn>
                <a:cxn ang="0">
                  <a:pos x="35" y="296"/>
                </a:cxn>
                <a:cxn ang="0">
                  <a:pos x="0" y="296"/>
                </a:cxn>
                <a:cxn ang="0">
                  <a:pos x="0" y="9"/>
                </a:cxn>
              </a:cxnLst>
              <a:rect l="0" t="0" r="r" b="b"/>
              <a:pathLst>
                <a:path w="233" h="296">
                  <a:moveTo>
                    <a:pt x="0" y="9"/>
                  </a:moveTo>
                  <a:lnTo>
                    <a:pt x="35" y="9"/>
                  </a:lnTo>
                  <a:lnTo>
                    <a:pt x="35" y="58"/>
                  </a:lnTo>
                  <a:lnTo>
                    <a:pt x="36" y="58"/>
                  </a:lnTo>
                  <a:lnTo>
                    <a:pt x="48" y="39"/>
                  </a:lnTo>
                  <a:lnTo>
                    <a:pt x="63" y="23"/>
                  </a:lnTo>
                  <a:lnTo>
                    <a:pt x="83" y="12"/>
                  </a:lnTo>
                  <a:lnTo>
                    <a:pt x="105" y="3"/>
                  </a:lnTo>
                  <a:lnTo>
                    <a:pt x="129" y="0"/>
                  </a:lnTo>
                  <a:lnTo>
                    <a:pt x="157" y="2"/>
                  </a:lnTo>
                  <a:lnTo>
                    <a:pt x="179" y="7"/>
                  </a:lnTo>
                  <a:lnTo>
                    <a:pt x="197" y="17"/>
                  </a:lnTo>
                  <a:lnTo>
                    <a:pt x="211" y="30"/>
                  </a:lnTo>
                  <a:lnTo>
                    <a:pt x="222" y="45"/>
                  </a:lnTo>
                  <a:lnTo>
                    <a:pt x="228" y="65"/>
                  </a:lnTo>
                  <a:lnTo>
                    <a:pt x="232" y="87"/>
                  </a:lnTo>
                  <a:lnTo>
                    <a:pt x="233" y="111"/>
                  </a:lnTo>
                  <a:lnTo>
                    <a:pt x="233" y="296"/>
                  </a:lnTo>
                  <a:lnTo>
                    <a:pt x="198" y="296"/>
                  </a:lnTo>
                  <a:lnTo>
                    <a:pt x="198" y="116"/>
                  </a:lnTo>
                  <a:lnTo>
                    <a:pt x="197" y="97"/>
                  </a:lnTo>
                  <a:lnTo>
                    <a:pt x="194" y="77"/>
                  </a:lnTo>
                  <a:lnTo>
                    <a:pt x="187" y="62"/>
                  </a:lnTo>
                  <a:lnTo>
                    <a:pt x="179" y="48"/>
                  </a:lnTo>
                  <a:lnTo>
                    <a:pt x="165" y="38"/>
                  </a:lnTo>
                  <a:lnTo>
                    <a:pt x="148" y="32"/>
                  </a:lnTo>
                  <a:lnTo>
                    <a:pt x="126" y="30"/>
                  </a:lnTo>
                  <a:lnTo>
                    <a:pt x="99" y="32"/>
                  </a:lnTo>
                  <a:lnTo>
                    <a:pt x="78" y="42"/>
                  </a:lnTo>
                  <a:lnTo>
                    <a:pt x="60" y="58"/>
                  </a:lnTo>
                  <a:lnTo>
                    <a:pt x="46" y="77"/>
                  </a:lnTo>
                  <a:lnTo>
                    <a:pt x="38" y="102"/>
                  </a:lnTo>
                  <a:lnTo>
                    <a:pt x="35" y="129"/>
                  </a:lnTo>
                  <a:lnTo>
                    <a:pt x="35" y="296"/>
                  </a:lnTo>
                  <a:lnTo>
                    <a:pt x="0" y="296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68" name="Freeform 20"/>
            <p:cNvSpPr>
              <a:spLocks/>
            </p:cNvSpPr>
            <p:nvPr/>
          </p:nvSpPr>
          <p:spPr bwMode="auto">
            <a:xfrm>
              <a:off x="9468594" y="6671575"/>
              <a:ext cx="50375" cy="8084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5" y="0"/>
                </a:cxn>
                <a:cxn ang="0">
                  <a:pos x="35" y="250"/>
                </a:cxn>
                <a:cxn ang="0">
                  <a:pos x="194" y="111"/>
                </a:cxn>
                <a:cxn ang="0">
                  <a:pos x="241" y="111"/>
                </a:cxn>
                <a:cxn ang="0">
                  <a:pos x="119" y="217"/>
                </a:cxn>
                <a:cxn ang="0">
                  <a:pos x="249" y="398"/>
                </a:cxn>
                <a:cxn ang="0">
                  <a:pos x="206" y="398"/>
                </a:cxn>
                <a:cxn ang="0">
                  <a:pos x="91" y="242"/>
                </a:cxn>
                <a:cxn ang="0">
                  <a:pos x="35" y="290"/>
                </a:cxn>
                <a:cxn ang="0">
                  <a:pos x="35" y="398"/>
                </a:cxn>
                <a:cxn ang="0">
                  <a:pos x="0" y="398"/>
                </a:cxn>
                <a:cxn ang="0">
                  <a:pos x="0" y="0"/>
                </a:cxn>
              </a:cxnLst>
              <a:rect l="0" t="0" r="r" b="b"/>
              <a:pathLst>
                <a:path w="249" h="398">
                  <a:moveTo>
                    <a:pt x="0" y="0"/>
                  </a:moveTo>
                  <a:lnTo>
                    <a:pt x="35" y="0"/>
                  </a:lnTo>
                  <a:lnTo>
                    <a:pt x="35" y="250"/>
                  </a:lnTo>
                  <a:lnTo>
                    <a:pt x="194" y="111"/>
                  </a:lnTo>
                  <a:lnTo>
                    <a:pt x="241" y="111"/>
                  </a:lnTo>
                  <a:lnTo>
                    <a:pt x="119" y="217"/>
                  </a:lnTo>
                  <a:lnTo>
                    <a:pt x="249" y="398"/>
                  </a:lnTo>
                  <a:lnTo>
                    <a:pt x="206" y="398"/>
                  </a:lnTo>
                  <a:lnTo>
                    <a:pt x="91" y="242"/>
                  </a:lnTo>
                  <a:lnTo>
                    <a:pt x="35" y="290"/>
                  </a:lnTo>
                  <a:lnTo>
                    <a:pt x="35" y="398"/>
                  </a:lnTo>
                  <a:lnTo>
                    <a:pt x="0" y="398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69" name="Freeform 21"/>
            <p:cNvSpPr>
              <a:spLocks noEditPoints="1"/>
            </p:cNvSpPr>
            <p:nvPr/>
          </p:nvSpPr>
          <p:spPr bwMode="auto">
            <a:xfrm>
              <a:off x="9536437" y="6671575"/>
              <a:ext cx="7313" cy="80844"/>
            </a:xfrm>
            <a:custGeom>
              <a:avLst/>
              <a:gdLst/>
              <a:ahLst/>
              <a:cxnLst>
                <a:cxn ang="0">
                  <a:pos x="0" y="0"/>
                </a:cxn>
                <a:cxn ang="0">
                  <a:pos x="36" y="0"/>
                </a:cxn>
                <a:cxn ang="0">
                  <a:pos x="36" y="56"/>
                </a:cxn>
                <a:cxn ang="0">
                  <a:pos x="0" y="56"/>
                </a:cxn>
                <a:cxn ang="0">
                  <a:pos x="0" y="0"/>
                </a:cxn>
                <a:cxn ang="0">
                  <a:pos x="0" y="111"/>
                </a:cxn>
                <a:cxn ang="0">
                  <a:pos x="36" y="111"/>
                </a:cxn>
                <a:cxn ang="0">
                  <a:pos x="36" y="398"/>
                </a:cxn>
                <a:cxn ang="0">
                  <a:pos x="0" y="398"/>
                </a:cxn>
                <a:cxn ang="0">
                  <a:pos x="0" y="111"/>
                </a:cxn>
              </a:cxnLst>
              <a:rect l="0" t="0" r="r" b="b"/>
              <a:pathLst>
                <a:path w="36" h="398">
                  <a:moveTo>
                    <a:pt x="0" y="0"/>
                  </a:moveTo>
                  <a:lnTo>
                    <a:pt x="36" y="0"/>
                  </a:lnTo>
                  <a:lnTo>
                    <a:pt x="36" y="56"/>
                  </a:lnTo>
                  <a:lnTo>
                    <a:pt x="0" y="56"/>
                  </a:lnTo>
                  <a:lnTo>
                    <a:pt x="0" y="0"/>
                  </a:lnTo>
                  <a:close/>
                  <a:moveTo>
                    <a:pt x="0" y="111"/>
                  </a:moveTo>
                  <a:lnTo>
                    <a:pt x="36" y="111"/>
                  </a:lnTo>
                  <a:lnTo>
                    <a:pt x="36" y="398"/>
                  </a:lnTo>
                  <a:lnTo>
                    <a:pt x="0" y="398"/>
                  </a:lnTo>
                  <a:lnTo>
                    <a:pt x="0" y="111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70" name="Freeform 22"/>
            <p:cNvSpPr>
              <a:spLocks/>
            </p:cNvSpPr>
            <p:nvPr/>
          </p:nvSpPr>
          <p:spPr bwMode="auto">
            <a:xfrm>
              <a:off x="9568531" y="6692294"/>
              <a:ext cx="47531" cy="60125"/>
            </a:xfrm>
            <a:custGeom>
              <a:avLst/>
              <a:gdLst/>
              <a:ahLst/>
              <a:cxnLst>
                <a:cxn ang="0">
                  <a:pos x="0" y="9"/>
                </a:cxn>
                <a:cxn ang="0">
                  <a:pos x="36" y="9"/>
                </a:cxn>
                <a:cxn ang="0">
                  <a:pos x="36" y="58"/>
                </a:cxn>
                <a:cxn ang="0">
                  <a:pos x="47" y="39"/>
                </a:cxn>
                <a:cxn ang="0">
                  <a:pos x="63" y="23"/>
                </a:cxn>
                <a:cxn ang="0">
                  <a:pos x="82" y="12"/>
                </a:cxn>
                <a:cxn ang="0">
                  <a:pos x="105" y="3"/>
                </a:cxn>
                <a:cxn ang="0">
                  <a:pos x="129" y="0"/>
                </a:cxn>
                <a:cxn ang="0">
                  <a:pos x="156" y="2"/>
                </a:cxn>
                <a:cxn ang="0">
                  <a:pos x="179" y="7"/>
                </a:cxn>
                <a:cxn ang="0">
                  <a:pos x="198" y="17"/>
                </a:cxn>
                <a:cxn ang="0">
                  <a:pos x="212" y="30"/>
                </a:cxn>
                <a:cxn ang="0">
                  <a:pos x="222" y="45"/>
                </a:cxn>
                <a:cxn ang="0">
                  <a:pos x="229" y="65"/>
                </a:cxn>
                <a:cxn ang="0">
                  <a:pos x="233" y="87"/>
                </a:cxn>
                <a:cxn ang="0">
                  <a:pos x="235" y="111"/>
                </a:cxn>
                <a:cxn ang="0">
                  <a:pos x="235" y="296"/>
                </a:cxn>
                <a:cxn ang="0">
                  <a:pos x="198" y="296"/>
                </a:cxn>
                <a:cxn ang="0">
                  <a:pos x="198" y="116"/>
                </a:cxn>
                <a:cxn ang="0">
                  <a:pos x="197" y="97"/>
                </a:cxn>
                <a:cxn ang="0">
                  <a:pos x="194" y="77"/>
                </a:cxn>
                <a:cxn ang="0">
                  <a:pos x="187" y="62"/>
                </a:cxn>
                <a:cxn ang="0">
                  <a:pos x="179" y="48"/>
                </a:cxn>
                <a:cxn ang="0">
                  <a:pos x="165" y="38"/>
                </a:cxn>
                <a:cxn ang="0">
                  <a:pos x="148" y="32"/>
                </a:cxn>
                <a:cxn ang="0">
                  <a:pos x="126" y="30"/>
                </a:cxn>
                <a:cxn ang="0">
                  <a:pos x="99" y="32"/>
                </a:cxn>
                <a:cxn ang="0">
                  <a:pos x="78" y="42"/>
                </a:cxn>
                <a:cxn ang="0">
                  <a:pos x="60" y="58"/>
                </a:cxn>
                <a:cxn ang="0">
                  <a:pos x="47" y="77"/>
                </a:cxn>
                <a:cxn ang="0">
                  <a:pos x="39" y="102"/>
                </a:cxn>
                <a:cxn ang="0">
                  <a:pos x="36" y="129"/>
                </a:cxn>
                <a:cxn ang="0">
                  <a:pos x="36" y="296"/>
                </a:cxn>
                <a:cxn ang="0">
                  <a:pos x="0" y="296"/>
                </a:cxn>
                <a:cxn ang="0">
                  <a:pos x="0" y="9"/>
                </a:cxn>
              </a:cxnLst>
              <a:rect l="0" t="0" r="r" b="b"/>
              <a:pathLst>
                <a:path w="235" h="296">
                  <a:moveTo>
                    <a:pt x="0" y="9"/>
                  </a:moveTo>
                  <a:lnTo>
                    <a:pt x="36" y="9"/>
                  </a:lnTo>
                  <a:lnTo>
                    <a:pt x="36" y="58"/>
                  </a:lnTo>
                  <a:lnTo>
                    <a:pt x="47" y="39"/>
                  </a:lnTo>
                  <a:lnTo>
                    <a:pt x="63" y="23"/>
                  </a:lnTo>
                  <a:lnTo>
                    <a:pt x="82" y="12"/>
                  </a:lnTo>
                  <a:lnTo>
                    <a:pt x="105" y="3"/>
                  </a:lnTo>
                  <a:lnTo>
                    <a:pt x="129" y="0"/>
                  </a:lnTo>
                  <a:lnTo>
                    <a:pt x="156" y="2"/>
                  </a:lnTo>
                  <a:lnTo>
                    <a:pt x="179" y="7"/>
                  </a:lnTo>
                  <a:lnTo>
                    <a:pt x="198" y="17"/>
                  </a:lnTo>
                  <a:lnTo>
                    <a:pt x="212" y="30"/>
                  </a:lnTo>
                  <a:lnTo>
                    <a:pt x="222" y="45"/>
                  </a:lnTo>
                  <a:lnTo>
                    <a:pt x="229" y="65"/>
                  </a:lnTo>
                  <a:lnTo>
                    <a:pt x="233" y="87"/>
                  </a:lnTo>
                  <a:lnTo>
                    <a:pt x="235" y="111"/>
                  </a:lnTo>
                  <a:lnTo>
                    <a:pt x="235" y="296"/>
                  </a:lnTo>
                  <a:lnTo>
                    <a:pt x="198" y="296"/>
                  </a:lnTo>
                  <a:lnTo>
                    <a:pt x="198" y="116"/>
                  </a:lnTo>
                  <a:lnTo>
                    <a:pt x="197" y="97"/>
                  </a:lnTo>
                  <a:lnTo>
                    <a:pt x="194" y="77"/>
                  </a:lnTo>
                  <a:lnTo>
                    <a:pt x="187" y="62"/>
                  </a:lnTo>
                  <a:lnTo>
                    <a:pt x="179" y="48"/>
                  </a:lnTo>
                  <a:lnTo>
                    <a:pt x="165" y="38"/>
                  </a:lnTo>
                  <a:lnTo>
                    <a:pt x="148" y="32"/>
                  </a:lnTo>
                  <a:lnTo>
                    <a:pt x="126" y="30"/>
                  </a:lnTo>
                  <a:lnTo>
                    <a:pt x="99" y="32"/>
                  </a:lnTo>
                  <a:lnTo>
                    <a:pt x="78" y="42"/>
                  </a:lnTo>
                  <a:lnTo>
                    <a:pt x="60" y="58"/>
                  </a:lnTo>
                  <a:lnTo>
                    <a:pt x="47" y="77"/>
                  </a:lnTo>
                  <a:lnTo>
                    <a:pt x="39" y="102"/>
                  </a:lnTo>
                  <a:lnTo>
                    <a:pt x="36" y="129"/>
                  </a:lnTo>
                  <a:lnTo>
                    <a:pt x="36" y="296"/>
                  </a:lnTo>
                  <a:lnTo>
                    <a:pt x="0" y="296"/>
                  </a:lnTo>
                  <a:lnTo>
                    <a:pt x="0" y="9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  <p:sp>
          <p:nvSpPr>
            <p:cNvPr id="71" name="Freeform 23"/>
            <p:cNvSpPr>
              <a:spLocks noEditPoints="1"/>
            </p:cNvSpPr>
            <p:nvPr/>
          </p:nvSpPr>
          <p:spPr bwMode="auto">
            <a:xfrm>
              <a:off x="9638000" y="6692294"/>
              <a:ext cx="52000" cy="83281"/>
            </a:xfrm>
            <a:custGeom>
              <a:avLst/>
              <a:gdLst/>
              <a:ahLst/>
              <a:cxnLst>
                <a:cxn ang="0">
                  <a:pos x="256" y="303"/>
                </a:cxn>
                <a:cxn ang="0">
                  <a:pos x="242" y="355"/>
                </a:cxn>
                <a:cxn ang="0">
                  <a:pos x="211" y="390"/>
                </a:cxn>
                <a:cxn ang="0">
                  <a:pos x="162" y="408"/>
                </a:cxn>
                <a:cxn ang="0">
                  <a:pos x="105" y="410"/>
                </a:cxn>
                <a:cxn ang="0">
                  <a:pos x="60" y="396"/>
                </a:cxn>
                <a:cxn ang="0">
                  <a:pos x="25" y="369"/>
                </a:cxn>
                <a:cxn ang="0">
                  <a:pos x="10" y="324"/>
                </a:cxn>
                <a:cxn ang="0">
                  <a:pos x="52" y="343"/>
                </a:cxn>
                <a:cxn ang="0">
                  <a:pos x="76" y="369"/>
                </a:cxn>
                <a:cxn ang="0">
                  <a:pos x="111" y="380"/>
                </a:cxn>
                <a:cxn ang="0">
                  <a:pos x="155" y="379"/>
                </a:cxn>
                <a:cxn ang="0">
                  <a:pos x="193" y="361"/>
                </a:cxn>
                <a:cxn ang="0">
                  <a:pos x="215" y="324"/>
                </a:cxn>
                <a:cxn ang="0">
                  <a:pos x="222" y="273"/>
                </a:cxn>
                <a:cxn ang="0">
                  <a:pos x="221" y="234"/>
                </a:cxn>
                <a:cxn ang="0">
                  <a:pos x="193" y="270"/>
                </a:cxn>
                <a:cxn ang="0">
                  <a:pos x="154" y="290"/>
                </a:cxn>
                <a:cxn ang="0">
                  <a:pos x="101" y="290"/>
                </a:cxn>
                <a:cxn ang="0">
                  <a:pos x="56" y="273"/>
                </a:cxn>
                <a:cxn ang="0">
                  <a:pos x="24" y="241"/>
                </a:cxn>
                <a:cxn ang="0">
                  <a:pos x="6" y="197"/>
                </a:cxn>
                <a:cxn ang="0">
                  <a:pos x="0" y="146"/>
                </a:cxn>
                <a:cxn ang="0">
                  <a:pos x="9" y="90"/>
                </a:cxn>
                <a:cxn ang="0">
                  <a:pos x="34" y="44"/>
                </a:cxn>
                <a:cxn ang="0">
                  <a:pos x="74" y="12"/>
                </a:cxn>
                <a:cxn ang="0">
                  <a:pos x="130" y="0"/>
                </a:cxn>
                <a:cxn ang="0">
                  <a:pos x="176" y="12"/>
                </a:cxn>
                <a:cxn ang="0">
                  <a:pos x="210" y="39"/>
                </a:cxn>
                <a:cxn ang="0">
                  <a:pos x="222" y="58"/>
                </a:cxn>
                <a:cxn ang="0">
                  <a:pos x="257" y="9"/>
                </a:cxn>
                <a:cxn ang="0">
                  <a:pos x="222" y="150"/>
                </a:cxn>
                <a:cxn ang="0">
                  <a:pos x="217" y="107"/>
                </a:cxn>
                <a:cxn ang="0">
                  <a:pos x="201" y="69"/>
                </a:cxn>
                <a:cxn ang="0">
                  <a:pos x="172" y="41"/>
                </a:cxn>
                <a:cxn ang="0">
                  <a:pos x="130" y="30"/>
                </a:cxn>
                <a:cxn ang="0">
                  <a:pos x="87" y="39"/>
                </a:cxn>
                <a:cxn ang="0">
                  <a:pos x="57" y="67"/>
                </a:cxn>
                <a:cxn ang="0">
                  <a:pos x="41" y="105"/>
                </a:cxn>
                <a:cxn ang="0">
                  <a:pos x="35" y="150"/>
                </a:cxn>
                <a:cxn ang="0">
                  <a:pos x="41" y="192"/>
                </a:cxn>
                <a:cxn ang="0">
                  <a:pos x="57" y="228"/>
                </a:cxn>
                <a:cxn ang="0">
                  <a:pos x="88" y="253"/>
                </a:cxn>
                <a:cxn ang="0">
                  <a:pos x="130" y="263"/>
                </a:cxn>
                <a:cxn ang="0">
                  <a:pos x="175" y="250"/>
                </a:cxn>
                <a:cxn ang="0">
                  <a:pos x="206" y="218"/>
                </a:cxn>
                <a:cxn ang="0">
                  <a:pos x="221" y="174"/>
                </a:cxn>
              </a:cxnLst>
              <a:rect l="0" t="0" r="r" b="b"/>
              <a:pathLst>
                <a:path w="257" h="411">
                  <a:moveTo>
                    <a:pt x="257" y="273"/>
                  </a:moveTo>
                  <a:lnTo>
                    <a:pt x="256" y="303"/>
                  </a:lnTo>
                  <a:lnTo>
                    <a:pt x="250" y="331"/>
                  </a:lnTo>
                  <a:lnTo>
                    <a:pt x="242" y="355"/>
                  </a:lnTo>
                  <a:lnTo>
                    <a:pt x="229" y="375"/>
                  </a:lnTo>
                  <a:lnTo>
                    <a:pt x="211" y="390"/>
                  </a:lnTo>
                  <a:lnTo>
                    <a:pt x="189" y="401"/>
                  </a:lnTo>
                  <a:lnTo>
                    <a:pt x="162" y="408"/>
                  </a:lnTo>
                  <a:lnTo>
                    <a:pt x="130" y="411"/>
                  </a:lnTo>
                  <a:lnTo>
                    <a:pt x="105" y="410"/>
                  </a:lnTo>
                  <a:lnTo>
                    <a:pt x="81" y="404"/>
                  </a:lnTo>
                  <a:lnTo>
                    <a:pt x="60" y="396"/>
                  </a:lnTo>
                  <a:lnTo>
                    <a:pt x="41" y="384"/>
                  </a:lnTo>
                  <a:lnTo>
                    <a:pt x="25" y="369"/>
                  </a:lnTo>
                  <a:lnTo>
                    <a:pt x="16" y="348"/>
                  </a:lnTo>
                  <a:lnTo>
                    <a:pt x="10" y="324"/>
                  </a:lnTo>
                  <a:lnTo>
                    <a:pt x="45" y="324"/>
                  </a:lnTo>
                  <a:lnTo>
                    <a:pt x="52" y="343"/>
                  </a:lnTo>
                  <a:lnTo>
                    <a:pt x="62" y="358"/>
                  </a:lnTo>
                  <a:lnTo>
                    <a:pt x="76" y="369"/>
                  </a:lnTo>
                  <a:lnTo>
                    <a:pt x="92" y="376"/>
                  </a:lnTo>
                  <a:lnTo>
                    <a:pt x="111" y="380"/>
                  </a:lnTo>
                  <a:lnTo>
                    <a:pt x="130" y="382"/>
                  </a:lnTo>
                  <a:lnTo>
                    <a:pt x="155" y="379"/>
                  </a:lnTo>
                  <a:lnTo>
                    <a:pt x="176" y="372"/>
                  </a:lnTo>
                  <a:lnTo>
                    <a:pt x="193" y="361"/>
                  </a:lnTo>
                  <a:lnTo>
                    <a:pt x="207" y="345"/>
                  </a:lnTo>
                  <a:lnTo>
                    <a:pt x="215" y="324"/>
                  </a:lnTo>
                  <a:lnTo>
                    <a:pt x="221" y="301"/>
                  </a:lnTo>
                  <a:lnTo>
                    <a:pt x="222" y="273"/>
                  </a:lnTo>
                  <a:lnTo>
                    <a:pt x="222" y="234"/>
                  </a:lnTo>
                  <a:lnTo>
                    <a:pt x="221" y="234"/>
                  </a:lnTo>
                  <a:lnTo>
                    <a:pt x="208" y="253"/>
                  </a:lnTo>
                  <a:lnTo>
                    <a:pt x="193" y="270"/>
                  </a:lnTo>
                  <a:lnTo>
                    <a:pt x="175" y="281"/>
                  </a:lnTo>
                  <a:lnTo>
                    <a:pt x="154" y="290"/>
                  </a:lnTo>
                  <a:lnTo>
                    <a:pt x="130" y="292"/>
                  </a:lnTo>
                  <a:lnTo>
                    <a:pt x="101" y="290"/>
                  </a:lnTo>
                  <a:lnTo>
                    <a:pt x="77" y="283"/>
                  </a:lnTo>
                  <a:lnTo>
                    <a:pt x="56" y="273"/>
                  </a:lnTo>
                  <a:lnTo>
                    <a:pt x="38" y="257"/>
                  </a:lnTo>
                  <a:lnTo>
                    <a:pt x="24" y="241"/>
                  </a:lnTo>
                  <a:lnTo>
                    <a:pt x="13" y="220"/>
                  </a:lnTo>
                  <a:lnTo>
                    <a:pt x="6" y="197"/>
                  </a:lnTo>
                  <a:lnTo>
                    <a:pt x="2" y="172"/>
                  </a:lnTo>
                  <a:lnTo>
                    <a:pt x="0" y="146"/>
                  </a:lnTo>
                  <a:lnTo>
                    <a:pt x="3" y="116"/>
                  </a:lnTo>
                  <a:lnTo>
                    <a:pt x="9" y="90"/>
                  </a:lnTo>
                  <a:lnTo>
                    <a:pt x="20" y="65"/>
                  </a:lnTo>
                  <a:lnTo>
                    <a:pt x="34" y="44"/>
                  </a:lnTo>
                  <a:lnTo>
                    <a:pt x="52" y="26"/>
                  </a:lnTo>
                  <a:lnTo>
                    <a:pt x="74" y="12"/>
                  </a:lnTo>
                  <a:lnTo>
                    <a:pt x="101" y="3"/>
                  </a:lnTo>
                  <a:lnTo>
                    <a:pt x="130" y="0"/>
                  </a:lnTo>
                  <a:lnTo>
                    <a:pt x="154" y="3"/>
                  </a:lnTo>
                  <a:lnTo>
                    <a:pt x="176" y="12"/>
                  </a:lnTo>
                  <a:lnTo>
                    <a:pt x="194" y="24"/>
                  </a:lnTo>
                  <a:lnTo>
                    <a:pt x="210" y="39"/>
                  </a:lnTo>
                  <a:lnTo>
                    <a:pt x="221" y="58"/>
                  </a:lnTo>
                  <a:lnTo>
                    <a:pt x="222" y="58"/>
                  </a:lnTo>
                  <a:lnTo>
                    <a:pt x="222" y="9"/>
                  </a:lnTo>
                  <a:lnTo>
                    <a:pt x="257" y="9"/>
                  </a:lnTo>
                  <a:lnTo>
                    <a:pt x="257" y="273"/>
                  </a:lnTo>
                  <a:close/>
                  <a:moveTo>
                    <a:pt x="222" y="150"/>
                  </a:moveTo>
                  <a:lnTo>
                    <a:pt x="221" y="129"/>
                  </a:lnTo>
                  <a:lnTo>
                    <a:pt x="217" y="107"/>
                  </a:lnTo>
                  <a:lnTo>
                    <a:pt x="211" y="87"/>
                  </a:lnTo>
                  <a:lnTo>
                    <a:pt x="201" y="69"/>
                  </a:lnTo>
                  <a:lnTo>
                    <a:pt x="189" y="52"/>
                  </a:lnTo>
                  <a:lnTo>
                    <a:pt x="172" y="41"/>
                  </a:lnTo>
                  <a:lnTo>
                    <a:pt x="152" y="32"/>
                  </a:lnTo>
                  <a:lnTo>
                    <a:pt x="130" y="30"/>
                  </a:lnTo>
                  <a:lnTo>
                    <a:pt x="106" y="32"/>
                  </a:lnTo>
                  <a:lnTo>
                    <a:pt x="87" y="39"/>
                  </a:lnTo>
                  <a:lnTo>
                    <a:pt x="70" y="52"/>
                  </a:lnTo>
                  <a:lnTo>
                    <a:pt x="57" y="67"/>
                  </a:lnTo>
                  <a:lnTo>
                    <a:pt x="48" y="86"/>
                  </a:lnTo>
                  <a:lnTo>
                    <a:pt x="41" y="105"/>
                  </a:lnTo>
                  <a:lnTo>
                    <a:pt x="37" y="127"/>
                  </a:lnTo>
                  <a:lnTo>
                    <a:pt x="35" y="150"/>
                  </a:lnTo>
                  <a:lnTo>
                    <a:pt x="37" y="171"/>
                  </a:lnTo>
                  <a:lnTo>
                    <a:pt x="41" y="192"/>
                  </a:lnTo>
                  <a:lnTo>
                    <a:pt x="48" y="211"/>
                  </a:lnTo>
                  <a:lnTo>
                    <a:pt x="57" y="228"/>
                  </a:lnTo>
                  <a:lnTo>
                    <a:pt x="71" y="242"/>
                  </a:lnTo>
                  <a:lnTo>
                    <a:pt x="88" y="253"/>
                  </a:lnTo>
                  <a:lnTo>
                    <a:pt x="108" y="260"/>
                  </a:lnTo>
                  <a:lnTo>
                    <a:pt x="130" y="263"/>
                  </a:lnTo>
                  <a:lnTo>
                    <a:pt x="154" y="260"/>
                  </a:lnTo>
                  <a:lnTo>
                    <a:pt x="175" y="250"/>
                  </a:lnTo>
                  <a:lnTo>
                    <a:pt x="192" y="236"/>
                  </a:lnTo>
                  <a:lnTo>
                    <a:pt x="206" y="218"/>
                  </a:lnTo>
                  <a:lnTo>
                    <a:pt x="214" y="197"/>
                  </a:lnTo>
                  <a:lnTo>
                    <a:pt x="221" y="174"/>
                  </a:lnTo>
                  <a:lnTo>
                    <a:pt x="222" y="150"/>
                  </a:lnTo>
                  <a:close/>
                </a:path>
              </a:pathLst>
            </a:custGeom>
            <a:solidFill>
              <a:schemeClr val="bg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0" tIns="0" rIns="0" bIns="0" numCol="1" anchor="t" anchorCtr="0" compatLnSpc="1">
              <a:prstTxWarp prst="textNoShape">
                <a:avLst/>
              </a:prstTxWarp>
            </a:bodyPr>
            <a:lstStyle/>
            <a:p>
              <a:endParaRPr lang="en-AU" sz="1800">
                <a:solidFill>
                  <a:schemeClr val="bg1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229852" y="6557123"/>
            <a:ext cx="1487488" cy="298800"/>
          </a:xfrm>
          <a:prstGeom prst="rect">
            <a:avLst/>
          </a:prstGeom>
          <a:noFill/>
        </p:spPr>
        <p:txBody>
          <a:bodyPr wrap="none" lIns="36000" tIns="36000" rIns="36000" bIns="36000" rtlCol="0" anchor="ctr">
            <a:noAutofit/>
          </a:bodyPr>
          <a:lstStyle/>
          <a:p>
            <a:pPr algn="l"/>
            <a:r>
              <a:rPr lang="en-AU" sz="700" b="0" cap="all" baseline="0" dirty="0">
                <a:solidFill>
                  <a:schemeClr val="bg1"/>
                </a:solidFill>
              </a:rPr>
              <a:t>STRICTLY CONFIDENTIAL</a:t>
            </a:r>
          </a:p>
        </p:txBody>
      </p:sp>
      <p:cxnSp>
        <p:nvCxnSpPr>
          <p:cNvPr id="73" name="Straight Connector 72"/>
          <p:cNvCxnSpPr/>
          <p:nvPr userDrawn="1"/>
        </p:nvCxnSpPr>
        <p:spPr bwMode="auto">
          <a:xfrm>
            <a:off x="0" y="6555600"/>
            <a:ext cx="1219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4" name="Straight Connector 73"/>
          <p:cNvCxnSpPr/>
          <p:nvPr userDrawn="1"/>
        </p:nvCxnSpPr>
        <p:spPr bwMode="auto">
          <a:xfrm>
            <a:off x="0" y="6555600"/>
            <a:ext cx="12192000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cxnSp>
        <p:nvCxnSpPr>
          <p:cNvPr id="75" name="Straight Connector 24"/>
          <p:cNvCxnSpPr>
            <a:cxnSpLocks noChangeShapeType="1"/>
          </p:cNvCxnSpPr>
          <p:nvPr userDrawn="1">
            <p:custDataLst>
              <p:tags r:id="rId1"/>
            </p:custDataLst>
          </p:nvPr>
        </p:nvCxnSpPr>
        <p:spPr bwMode="gray">
          <a:xfrm flipH="1">
            <a:off x="778890" y="3429000"/>
            <a:ext cx="10691818" cy="0"/>
          </a:xfrm>
          <a:prstGeom prst="line">
            <a:avLst/>
          </a:prstGeom>
          <a:noFill/>
          <a:ln w="9525" algn="ctr">
            <a:solidFill>
              <a:srgbClr val="B9840F"/>
            </a:solidFill>
            <a:round/>
            <a:headEnd/>
            <a:tailEnd/>
          </a:ln>
        </p:spPr>
      </p:cxnSp>
      <p:graphicFrame>
        <p:nvGraphicFramePr>
          <p:cNvPr id="77" name="Tabela 76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1072890350"/>
              </p:ext>
            </p:extLst>
          </p:nvPr>
        </p:nvGraphicFramePr>
        <p:xfrm>
          <a:off x="-1877836" y="222241"/>
          <a:ext cx="1440000" cy="612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60000">
                <a:tc gridSpan="4">
                  <a:txBody>
                    <a:bodyPr/>
                    <a:lstStyle/>
                    <a:p>
                      <a:pPr algn="ctr"/>
                      <a:r>
                        <a:rPr lang="pt-BR" sz="1000" dirty="0" err="1"/>
                        <a:t>Colour</a:t>
                      </a:r>
                      <a:r>
                        <a:rPr lang="pt-BR" sz="1000" dirty="0"/>
                        <a:t> </a:t>
                      </a:r>
                      <a:r>
                        <a:rPr lang="pt-BR" sz="1000" dirty="0" err="1"/>
                        <a:t>Pallete</a:t>
                      </a:r>
                      <a:endParaRPr lang="en-GB" sz="1000" dirty="0"/>
                    </a:p>
                  </a:txBody>
                  <a:tcPr anchor="ctr">
                    <a:lnB w="12700" cmpd="sng"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R</a:t>
                      </a:r>
                      <a:endParaRPr lang="en-GB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G</a:t>
                      </a:r>
                      <a:endParaRPr lang="en-GB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B</a:t>
                      </a:r>
                      <a:endParaRPr lang="en-GB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573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9</a:t>
                      </a:r>
                      <a:endParaRPr lang="en-GB" sz="8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87</a:t>
                      </a:r>
                      <a:endParaRPr lang="en-GB" sz="8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53</a:t>
                      </a:r>
                      <a:endParaRPr lang="en-GB" sz="8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137B5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</a:t>
                      </a:r>
                      <a:endParaRPr lang="en-GB" sz="800" dirty="0"/>
                    </a:p>
                  </a:txBody>
                  <a:tcPr anchor="ctr"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23</a:t>
                      </a:r>
                      <a:endParaRPr lang="en-GB" sz="800" dirty="0"/>
                    </a:p>
                  </a:txBody>
                  <a:tcPr anchor="ctr"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86</a:t>
                      </a:r>
                      <a:endParaRPr lang="en-GB" sz="800" dirty="0"/>
                    </a:p>
                  </a:txBody>
                  <a:tcPr anchor="ctr">
                    <a:lnT w="12700" cmpd="sng">
                      <a:noFill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5B877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9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3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14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9BBBA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5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87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72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AE951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74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49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4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A69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6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3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8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E28C0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2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4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E2D8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2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1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7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0D2B5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4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8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4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17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82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78ADD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2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7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2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C0D5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2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1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4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18171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4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9E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58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417676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5270761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x2 Right off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D4141713-DA6B-4084-A108-06D445ED9C9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1675914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95" imgH="394" progId="TCLayout.ActiveDocument.1">
                  <p:embed/>
                </p:oleObj>
              </mc:Choice>
              <mc:Fallback>
                <p:oleObj name="Slide do think-cell" r:id="rId3" imgW="395" imgH="394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D4141713-DA6B-4084-A108-06D445ED9C9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Espace réservé du numéro de diapositive 3">
            <a:extLst>
              <a:ext uri="{FF2B5EF4-FFF2-40B4-BE49-F238E27FC236}">
                <a16:creationId xmlns:a16="http://schemas.microsoft.com/office/drawing/2014/main" id="{35A36530-420C-4955-A41A-8244342609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7386" y="6580800"/>
            <a:ext cx="1010215" cy="241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EB72AD3A-2955-4B9F-A66D-679C7527B2F1}" type="slidenum">
              <a:rPr lang="en-GB" smtClean="0"/>
              <a:pPr/>
              <a:t>‹nº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5231290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  <p15:guide id="2" pos="295">
          <p15:clr>
            <a:srgbClr val="FBAE40"/>
          </p15:clr>
        </p15:guide>
        <p15:guide id="3" pos="7385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orient="horz" pos="2568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1x2 Right offse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Text Placeholder 28"/>
          <p:cNvSpPr>
            <a:spLocks noGrp="1"/>
          </p:cNvSpPr>
          <p:nvPr>
            <p:ph type="body" sz="quarter" idx="10" hasCustomPrompt="1"/>
          </p:nvPr>
        </p:nvSpPr>
        <p:spPr>
          <a:xfrm>
            <a:off x="483994" y="881289"/>
            <a:ext cx="9403584" cy="396382"/>
          </a:xfrm>
          <a:prstGeom prst="rect">
            <a:avLst/>
          </a:prstGeom>
          <a:ln w="3175">
            <a:noFill/>
          </a:ln>
        </p:spPr>
        <p:txBody>
          <a:bodyPr vert="horz" lIns="0" tIns="36000" rIns="36000" bIns="36000" rtlCol="0">
            <a:noAutofit/>
          </a:bodyPr>
          <a:lstStyle>
            <a:lvl1pPr marL="0" indent="0" algn="l" defTabSz="91442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0000"/>
              <a:buFont typeface="Wingdings" pitchFamily="2" charset="2"/>
              <a:buNone/>
              <a:defRPr lang="en-AU" sz="1200" b="0" kern="1200" noProof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23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0000"/>
              <a:buFont typeface="Wingdings" pitchFamily="2" charset="2"/>
              <a:buNone/>
            </a:pPr>
            <a:r>
              <a:rPr lang="en-AU" noProof="0" dirty="0"/>
              <a:t>Clique </a:t>
            </a:r>
            <a:r>
              <a:rPr lang="en-AU" noProof="0" dirty="0" err="1"/>
              <a:t>aqui</a:t>
            </a:r>
            <a:r>
              <a:rPr lang="en-AU" noProof="0" dirty="0"/>
              <a:t> para </a:t>
            </a:r>
            <a:r>
              <a:rPr lang="en-AU" noProof="0" dirty="0" err="1"/>
              <a:t>inserir</a:t>
            </a:r>
            <a:r>
              <a:rPr lang="en-AU" noProof="0" dirty="0"/>
              <a:t> a </a:t>
            </a:r>
            <a:r>
              <a:rPr lang="en-AU" noProof="0" dirty="0" err="1"/>
              <a:t>mensagem</a:t>
            </a:r>
            <a:r>
              <a:rPr lang="en-AU" noProof="0" dirty="0"/>
              <a:t> </a:t>
            </a:r>
            <a:r>
              <a:rPr lang="en-AU" noProof="0" dirty="0" err="1"/>
              <a:t>chave</a:t>
            </a:r>
            <a:endParaRPr lang="en-AU" noProof="0" dirty="0"/>
          </a:p>
        </p:txBody>
      </p:sp>
      <p:sp>
        <p:nvSpPr>
          <p:cNvPr id="18" name="Text Placeholder 17"/>
          <p:cNvSpPr>
            <a:spLocks noGrp="1"/>
          </p:cNvSpPr>
          <p:nvPr>
            <p:ph type="body" sz="quarter" idx="24" hasCustomPrompt="1"/>
          </p:nvPr>
        </p:nvSpPr>
        <p:spPr>
          <a:xfrm>
            <a:off x="483996" y="1383643"/>
            <a:ext cx="7392089" cy="241592"/>
          </a:xfrm>
          <a:prstGeom prst="rect">
            <a:avLst/>
          </a:prstGeom>
          <a:ln w="3175">
            <a:noFill/>
          </a:ln>
        </p:spPr>
        <p:txBody>
          <a:bodyPr vert="horz" lIns="0" tIns="36000" rIns="36000" bIns="36000" rtlCol="0" anchor="b">
            <a:noAutofit/>
          </a:bodyPr>
          <a:lstStyle>
            <a:lvl1pPr marL="0" indent="0" algn="l" defTabSz="91442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0000"/>
              <a:buFont typeface="Wingdings" pitchFamily="2" charset="2"/>
              <a:buNone/>
              <a:defRPr lang="en-AU" sz="1000" b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2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0000"/>
              <a:buFont typeface="Wingdings" pitchFamily="2" charset="2"/>
              <a:buNone/>
            </a:pPr>
            <a:r>
              <a:rPr lang="en-AU" noProof="0" dirty="0"/>
              <a:t>Clique </a:t>
            </a:r>
            <a:r>
              <a:rPr lang="en-AU" noProof="0" dirty="0" err="1"/>
              <a:t>aqui</a:t>
            </a:r>
            <a:r>
              <a:rPr lang="en-AU" noProof="0" dirty="0"/>
              <a:t> para </a:t>
            </a:r>
            <a:r>
              <a:rPr lang="en-AU" noProof="0" dirty="0" err="1"/>
              <a:t>inserir</a:t>
            </a:r>
            <a:r>
              <a:rPr lang="en-AU" noProof="0" dirty="0"/>
              <a:t> o sub-</a:t>
            </a:r>
            <a:r>
              <a:rPr lang="en-AU" noProof="0" dirty="0" err="1"/>
              <a:t>título</a:t>
            </a:r>
            <a:r>
              <a:rPr lang="en-AU" noProof="0" dirty="0"/>
              <a:t> 1</a:t>
            </a:r>
          </a:p>
        </p:txBody>
      </p:sp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>
          <a:xfrm>
            <a:off x="482954" y="108000"/>
            <a:ext cx="8662154" cy="576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AU" noProof="0" dirty="0"/>
              <a:t>Clique </a:t>
            </a:r>
            <a:r>
              <a:rPr lang="en-AU" noProof="0" dirty="0" err="1"/>
              <a:t>aqui</a:t>
            </a:r>
            <a:r>
              <a:rPr lang="en-AU" noProof="0" dirty="0"/>
              <a:t> para </a:t>
            </a:r>
            <a:r>
              <a:rPr lang="en-AU" noProof="0" dirty="0" err="1"/>
              <a:t>inserir</a:t>
            </a:r>
            <a:r>
              <a:rPr lang="en-AU" noProof="0" dirty="0"/>
              <a:t> o </a:t>
            </a:r>
            <a:r>
              <a:rPr lang="en-AU" noProof="0" dirty="0" err="1"/>
              <a:t>título</a:t>
            </a:r>
            <a:r>
              <a:rPr lang="en-AU" noProof="0" dirty="0"/>
              <a:t> da </a:t>
            </a:r>
            <a:r>
              <a:rPr lang="en-AU" noProof="0" dirty="0" err="1"/>
              <a:t>página</a:t>
            </a:r>
            <a:endParaRPr lang="en-AU" noProof="0" dirty="0"/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83995" y="1633399"/>
            <a:ext cx="4067909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 Placeholder 17"/>
          <p:cNvSpPr>
            <a:spLocks noGrp="1"/>
          </p:cNvSpPr>
          <p:nvPr>
            <p:ph type="body" sz="quarter" idx="29" hasCustomPrompt="1"/>
          </p:nvPr>
        </p:nvSpPr>
        <p:spPr>
          <a:xfrm>
            <a:off x="8178943" y="1383643"/>
            <a:ext cx="3544615" cy="241592"/>
          </a:xfrm>
          <a:prstGeom prst="rect">
            <a:avLst/>
          </a:prstGeom>
          <a:ln w="3175">
            <a:noFill/>
          </a:ln>
        </p:spPr>
        <p:txBody>
          <a:bodyPr vert="horz" lIns="0" tIns="36000" rIns="36000" bIns="36000" rtlCol="0" anchor="b">
            <a:noAutofit/>
          </a:bodyPr>
          <a:lstStyle>
            <a:lvl1pPr marL="0" indent="0" algn="l" defTabSz="91442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0000"/>
              <a:buFont typeface="Wingdings" pitchFamily="2" charset="2"/>
              <a:buNone/>
              <a:defRPr lang="en-AU" sz="1000" b="1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l" defTabSz="91442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0000"/>
              <a:buFont typeface="Wingdings" pitchFamily="2" charset="2"/>
              <a:buNone/>
            </a:pPr>
            <a:r>
              <a:rPr lang="en-AU" noProof="0" dirty="0"/>
              <a:t>Clique </a:t>
            </a:r>
            <a:r>
              <a:rPr lang="en-AU" noProof="0" dirty="0" err="1"/>
              <a:t>aqui</a:t>
            </a:r>
            <a:r>
              <a:rPr lang="en-AU" noProof="0" dirty="0"/>
              <a:t> para </a:t>
            </a:r>
            <a:r>
              <a:rPr lang="en-AU" noProof="0" dirty="0" err="1"/>
              <a:t>inserir</a:t>
            </a:r>
            <a:r>
              <a:rPr lang="en-AU" noProof="0" dirty="0"/>
              <a:t> o sub-</a:t>
            </a:r>
            <a:r>
              <a:rPr lang="en-AU" noProof="0" dirty="0" err="1"/>
              <a:t>título</a:t>
            </a:r>
            <a:r>
              <a:rPr lang="en-AU" noProof="0" dirty="0"/>
              <a:t> 1</a:t>
            </a:r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8178943" y="1633399"/>
            <a:ext cx="35446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4331467" y="1633399"/>
            <a:ext cx="354461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Espace réservé du texte 4">
            <a:extLst>
              <a:ext uri="{FF2B5EF4-FFF2-40B4-BE49-F238E27FC236}">
                <a16:creationId xmlns:a16="http://schemas.microsoft.com/office/drawing/2014/main" id="{BF3D642A-740D-41C7-ADD2-AF4B783A79B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483994" y="6233719"/>
            <a:ext cx="5391222" cy="276340"/>
          </a:xfrm>
          <a:prstGeom prst="rect">
            <a:avLst/>
          </a:prstGeom>
        </p:spPr>
        <p:txBody>
          <a:bodyPr lIns="0" tIns="0" rIns="0" bIns="0" anchor="b" anchorCtr="0"/>
          <a:lstStyle>
            <a:lvl1pPr>
              <a:spcAft>
                <a:spcPts val="0"/>
              </a:spcAft>
              <a:defRPr sz="600" i="1"/>
            </a:lvl1pPr>
          </a:lstStyle>
          <a:p>
            <a:pPr lvl="0"/>
            <a:r>
              <a:rPr lang="fr-FR" dirty="0"/>
              <a:t>Fonte:</a:t>
            </a:r>
            <a:endParaRPr lang="en-GB" dirty="0"/>
          </a:p>
        </p:txBody>
      </p:sp>
      <p:sp>
        <p:nvSpPr>
          <p:cNvPr id="14" name="Espace réservé du numéro de diapositive 3">
            <a:extLst>
              <a:ext uri="{FF2B5EF4-FFF2-40B4-BE49-F238E27FC236}">
                <a16:creationId xmlns:a16="http://schemas.microsoft.com/office/drawing/2014/main" id="{35A36530-420C-4955-A41A-82443426095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487386" y="6580800"/>
            <a:ext cx="1010215" cy="241200"/>
          </a:xfrm>
          <a:prstGeom prst="rect">
            <a:avLst/>
          </a:prstGeom>
        </p:spPr>
        <p:txBody>
          <a:bodyPr vert="horz" lIns="0" tIns="45720" rIns="91440" bIns="45720" rtlCol="0" anchor="ctr"/>
          <a:lstStyle>
            <a:lvl1pPr algn="l">
              <a:defRPr sz="700">
                <a:solidFill>
                  <a:schemeClr val="tx1"/>
                </a:solidFill>
              </a:defRPr>
            </a:lvl1pPr>
          </a:lstStyle>
          <a:p>
            <a:fld id="{EB72AD3A-2955-4B9F-A66D-679C7527B2F1}" type="slidenum">
              <a:rPr lang="en-GB" smtClean="0"/>
              <a:pPr/>
              <a:t>‹nº›</a:t>
            </a:fld>
            <a:endParaRPr lang="en-GB" dirty="0"/>
          </a:p>
        </p:txBody>
      </p:sp>
      <p:sp>
        <p:nvSpPr>
          <p:cNvPr id="16" name="Content Placeholder 6">
            <a:extLst>
              <a:ext uri="{FF2B5EF4-FFF2-40B4-BE49-F238E27FC236}">
                <a16:creationId xmlns:a16="http://schemas.microsoft.com/office/drawing/2014/main" id="{2571362A-96F8-4C78-8338-66AA2FE17B9B}"/>
              </a:ext>
            </a:extLst>
          </p:cNvPr>
          <p:cNvSpPr>
            <a:spLocks noGrp="1"/>
          </p:cNvSpPr>
          <p:nvPr>
            <p:ph sz="quarter" idx="31" hasCustomPrompt="1"/>
          </p:nvPr>
        </p:nvSpPr>
        <p:spPr>
          <a:xfrm>
            <a:off x="482956" y="1633400"/>
            <a:ext cx="7392089" cy="4592151"/>
          </a:xfrm>
          <a:prstGeom prst="rect">
            <a:avLst/>
          </a:prstGeom>
        </p:spPr>
        <p:txBody>
          <a:bodyPr lIns="0"/>
          <a:lstStyle>
            <a:lvl1pPr marL="171455" indent="-171455">
              <a:buClr>
                <a:srgbClr val="0D2B5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1pPr>
            <a:lvl2pPr marL="357197" indent="-179393">
              <a:buClr>
                <a:schemeClr val="tx1"/>
              </a:buClr>
              <a:buSzPct val="50000"/>
              <a:buFont typeface="Arial" panose="020B0604020202020204" pitchFamily="34" charset="0"/>
              <a:buChar char="►"/>
              <a:defRPr/>
            </a:lvl2pPr>
            <a:lvl3pPr marL="528652" indent="-171455">
              <a:buSzPct val="100000"/>
              <a:buFont typeface="Arial" panose="020B0604020202020204" pitchFamily="34" charset="0"/>
              <a:buChar char="–"/>
              <a:defRPr/>
            </a:lvl3pPr>
            <a:lvl4pPr marL="719156" indent="-179393">
              <a:buClr>
                <a:srgbClr val="0D2B55"/>
              </a:buClr>
              <a:buSzPct val="50000"/>
              <a:buFont typeface="Arial" panose="020B0604020202020204" pitchFamily="34" charset="0"/>
              <a:buChar char="●"/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aster</a:t>
            </a:r>
          </a:p>
          <a:p>
            <a:pPr lvl="1"/>
            <a:r>
              <a:rPr lang="en-US" dirty="0"/>
              <a:t>Segundo level</a:t>
            </a:r>
          </a:p>
          <a:p>
            <a:pPr lvl="2"/>
            <a:r>
              <a:rPr lang="en-US" dirty="0" err="1"/>
              <a:t>Terceiro</a:t>
            </a:r>
            <a:r>
              <a:rPr lang="en-US" dirty="0"/>
              <a:t> level</a:t>
            </a:r>
          </a:p>
          <a:p>
            <a:pPr lvl="3"/>
            <a:r>
              <a:rPr lang="en-US" dirty="0"/>
              <a:t>Quarto level</a:t>
            </a:r>
          </a:p>
        </p:txBody>
      </p:sp>
      <p:sp>
        <p:nvSpPr>
          <p:cNvPr id="17" name="Content Placeholder 6">
            <a:extLst>
              <a:ext uri="{FF2B5EF4-FFF2-40B4-BE49-F238E27FC236}">
                <a16:creationId xmlns:a16="http://schemas.microsoft.com/office/drawing/2014/main" id="{0150F6FE-4B35-482F-AB19-5C7931A77A5C}"/>
              </a:ext>
            </a:extLst>
          </p:cNvPr>
          <p:cNvSpPr>
            <a:spLocks noGrp="1"/>
          </p:cNvSpPr>
          <p:nvPr>
            <p:ph sz="quarter" idx="32" hasCustomPrompt="1"/>
          </p:nvPr>
        </p:nvSpPr>
        <p:spPr>
          <a:xfrm>
            <a:off x="8177903" y="1625240"/>
            <a:ext cx="3544615" cy="4592151"/>
          </a:xfrm>
          <a:prstGeom prst="rect">
            <a:avLst/>
          </a:prstGeom>
        </p:spPr>
        <p:txBody>
          <a:bodyPr lIns="0"/>
          <a:lstStyle>
            <a:lvl1pPr marL="171455" indent="-171455">
              <a:buClr>
                <a:srgbClr val="0D2B55"/>
              </a:buClr>
              <a:buSzPct val="100000"/>
              <a:buFont typeface="Wingdings" panose="05000000000000000000" pitchFamily="2" charset="2"/>
              <a:buChar char="§"/>
              <a:defRPr>
                <a:solidFill>
                  <a:schemeClr val="tx1"/>
                </a:solidFill>
              </a:defRPr>
            </a:lvl1pPr>
            <a:lvl2pPr marL="357197" indent="-179393">
              <a:buClr>
                <a:schemeClr val="tx1"/>
              </a:buClr>
              <a:buSzPct val="50000"/>
              <a:buFont typeface="Arial" panose="020B0604020202020204" pitchFamily="34" charset="0"/>
              <a:buChar char="►"/>
              <a:defRPr/>
            </a:lvl2pPr>
            <a:lvl3pPr marL="528652" indent="-171455">
              <a:buSzPct val="100000"/>
              <a:buFont typeface="Arial" panose="020B0604020202020204" pitchFamily="34" charset="0"/>
              <a:buChar char="–"/>
              <a:defRPr/>
            </a:lvl3pPr>
            <a:lvl4pPr marL="719156" indent="-179393">
              <a:buClr>
                <a:srgbClr val="0D2B55"/>
              </a:buClr>
              <a:buSzPct val="50000"/>
              <a:buFont typeface="Arial" panose="020B0604020202020204" pitchFamily="34" charset="0"/>
              <a:buChar char="●"/>
              <a:defRPr>
                <a:solidFill>
                  <a:schemeClr val="tx1"/>
                </a:solidFill>
              </a:defRPr>
            </a:lvl4pPr>
          </a:lstStyle>
          <a:p>
            <a:pPr lvl="0"/>
            <a:r>
              <a:rPr lang="en-US" dirty="0" err="1"/>
              <a:t>Editar</a:t>
            </a:r>
            <a:r>
              <a:rPr lang="en-US" dirty="0"/>
              <a:t> </a:t>
            </a:r>
            <a:r>
              <a:rPr lang="en-US" dirty="0" err="1"/>
              <a:t>estilo</a:t>
            </a:r>
            <a:r>
              <a:rPr lang="en-US" dirty="0"/>
              <a:t> de </a:t>
            </a:r>
            <a:r>
              <a:rPr lang="en-US" dirty="0" err="1"/>
              <a:t>texto</a:t>
            </a:r>
            <a:r>
              <a:rPr lang="en-US" dirty="0"/>
              <a:t> master</a:t>
            </a:r>
          </a:p>
          <a:p>
            <a:pPr lvl="1"/>
            <a:r>
              <a:rPr lang="en-US" dirty="0"/>
              <a:t>Segundo level</a:t>
            </a:r>
          </a:p>
          <a:p>
            <a:pPr lvl="2"/>
            <a:r>
              <a:rPr lang="en-US" dirty="0" err="1"/>
              <a:t>Terceiro</a:t>
            </a:r>
            <a:r>
              <a:rPr lang="en-US" dirty="0"/>
              <a:t> level</a:t>
            </a:r>
          </a:p>
          <a:p>
            <a:pPr lvl="3"/>
            <a:r>
              <a:rPr lang="en-US" dirty="0"/>
              <a:t>Quarto level</a:t>
            </a:r>
          </a:p>
        </p:txBody>
      </p:sp>
    </p:spTree>
    <p:extLst>
      <p:ext uri="{BB962C8B-B14F-4D97-AF65-F5344CB8AC3E}">
        <p14:creationId xmlns:p14="http://schemas.microsoft.com/office/powerpoint/2010/main" val="2231245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67">
          <p15:clr>
            <a:srgbClr val="FBAE40"/>
          </p15:clr>
        </p15:guide>
        <p15:guide id="2" pos="295">
          <p15:clr>
            <a:srgbClr val="FBAE40"/>
          </p15:clr>
        </p15:guide>
        <p15:guide id="3" pos="7385">
          <p15:clr>
            <a:srgbClr val="FBAE40"/>
          </p15:clr>
        </p15:guide>
        <p15:guide id="4" orient="horz" pos="1026">
          <p15:clr>
            <a:srgbClr val="FBAE40"/>
          </p15:clr>
        </p15:guide>
        <p15:guide id="5" orient="horz" pos="256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600" b="0" i="0">
                <a:solidFill>
                  <a:srgbClr val="1581AA"/>
                </a:solidFill>
                <a:latin typeface="Arial MT"/>
                <a:cs typeface="Arial MT"/>
              </a:defRPr>
            </a:lvl1pPr>
          </a:lstStyle>
          <a:p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/>
          </a:p>
        </p:txBody>
      </p:sp>
      <p:sp>
        <p:nvSpPr>
          <p:cNvPr id="4" name="Holder 4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D8BD707-D9CF-40AE-B4C6-C98DA3205C09}" type="datetimeFigureOut">
              <a:rPr lang="en-US"/>
              <a:t>12/18/2023</a:t>
            </a:fld>
            <a:endParaRPr lang="en-US"/>
          </a:p>
        </p:txBody>
      </p:sp>
      <p:sp>
        <p:nvSpPr>
          <p:cNvPr id="5" name="Holder 5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F15528-21DE-4FAA-801E-634DDDAF4B2B}" type="slidenum">
              <a:t>‹nº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8027540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4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2.png"/><Relationship Id="rId10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o 2" hidden="1">
            <a:extLst>
              <a:ext uri="{FF2B5EF4-FFF2-40B4-BE49-F238E27FC236}">
                <a16:creationId xmlns:a16="http://schemas.microsoft.com/office/drawing/2014/main" id="{4E7EDADD-7309-42F7-9715-94358026D1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0"/>
            </p:custDataLst>
            <p:extLst>
              <p:ext uri="{D42A27DB-BD31-4B8C-83A1-F6EECF244321}">
                <p14:modId xmlns:p14="http://schemas.microsoft.com/office/powerpoint/2010/main" val="7283094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13" imgW="395" imgH="394" progId="TCLayout.ActiveDocument.1">
                  <p:embed/>
                </p:oleObj>
              </mc:Choice>
              <mc:Fallback>
                <p:oleObj name="Slide do think-cell" r:id="rId13" imgW="395" imgH="394" progId="TCLayout.ActiveDocument.1">
                  <p:embed/>
                  <p:pic>
                    <p:nvPicPr>
                      <p:cNvPr id="3" name="Objeto 2" hidden="1">
                        <a:extLst>
                          <a:ext uri="{FF2B5EF4-FFF2-40B4-BE49-F238E27FC236}">
                            <a16:creationId xmlns:a16="http://schemas.microsoft.com/office/drawing/2014/main" id="{4E7EDADD-7309-42F7-9715-94358026D1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Picture 8">
            <a:extLst>
              <a:ext uri="{FF2B5EF4-FFF2-40B4-BE49-F238E27FC236}">
                <a16:creationId xmlns:a16="http://schemas.microsoft.com/office/drawing/2014/main" id="{96DE0509-3524-4106-87AE-E70FEC80C4BB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203721" y="108000"/>
            <a:ext cx="1486362" cy="571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" name="Straight Connector 24">
            <a:extLst>
              <a:ext uri="{FF2B5EF4-FFF2-40B4-BE49-F238E27FC236}">
                <a16:creationId xmlns:a16="http://schemas.microsoft.com/office/drawing/2014/main" id="{E31D7D06-F303-4B07-ABB1-A61D39BAB60B}"/>
              </a:ext>
            </a:extLst>
          </p:cNvPr>
          <p:cNvCxnSpPr>
            <a:cxnSpLocks noChangeShapeType="1"/>
          </p:cNvCxnSpPr>
          <p:nvPr userDrawn="1">
            <p:custDataLst>
              <p:tags r:id="rId11"/>
            </p:custDataLst>
          </p:nvPr>
        </p:nvCxnSpPr>
        <p:spPr bwMode="gray">
          <a:xfrm flipH="1">
            <a:off x="476461" y="767575"/>
            <a:ext cx="11239083" cy="0"/>
          </a:xfrm>
          <a:prstGeom prst="line">
            <a:avLst/>
          </a:prstGeom>
          <a:noFill/>
          <a:ln w="6350" algn="ctr">
            <a:solidFill>
              <a:srgbClr val="000000"/>
            </a:solidFill>
            <a:round/>
            <a:headEnd/>
            <a:tailEnd/>
          </a:ln>
        </p:spPr>
      </p:cxnSp>
      <p:cxnSp>
        <p:nvCxnSpPr>
          <p:cNvPr id="10" name="Straight Connector 24">
            <a:extLst>
              <a:ext uri="{FF2B5EF4-FFF2-40B4-BE49-F238E27FC236}">
                <a16:creationId xmlns:a16="http://schemas.microsoft.com/office/drawing/2014/main" id="{08451A7B-15B9-49E3-BA0C-88EEC565ABEA}"/>
              </a:ext>
            </a:extLst>
          </p:cNvPr>
          <p:cNvCxnSpPr>
            <a:cxnSpLocks noChangeShapeType="1"/>
          </p:cNvCxnSpPr>
          <p:nvPr userDrawn="1">
            <p:custDataLst>
              <p:tags r:id="rId12"/>
            </p:custDataLst>
          </p:nvPr>
        </p:nvCxnSpPr>
        <p:spPr bwMode="gray">
          <a:xfrm flipH="1">
            <a:off x="476461" y="6579257"/>
            <a:ext cx="11239083" cy="0"/>
          </a:xfrm>
          <a:prstGeom prst="line">
            <a:avLst/>
          </a:prstGeom>
          <a:noFill/>
          <a:ln w="19050" algn="ctr">
            <a:solidFill>
              <a:srgbClr val="A6871C"/>
            </a:solidFill>
            <a:round/>
            <a:headEnd/>
            <a:tailEnd/>
          </a:ln>
        </p:spPr>
      </p:cxnSp>
      <p:graphicFrame>
        <p:nvGraphicFramePr>
          <p:cNvPr id="11" name="Tabela 10"/>
          <p:cNvGraphicFramePr>
            <a:graphicFrameLocks noGrp="1"/>
          </p:cNvGraphicFramePr>
          <p:nvPr userDrawn="1">
            <p:extLst>
              <p:ext uri="{D42A27DB-BD31-4B8C-83A1-F6EECF244321}">
                <p14:modId xmlns:p14="http://schemas.microsoft.com/office/powerpoint/2010/main" val="3386804749"/>
              </p:ext>
            </p:extLst>
          </p:nvPr>
        </p:nvGraphicFramePr>
        <p:xfrm>
          <a:off x="-1877836" y="222241"/>
          <a:ext cx="1440000" cy="612000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3600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36000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60000">
                <a:tc gridSpan="4">
                  <a:txBody>
                    <a:bodyPr/>
                    <a:lstStyle/>
                    <a:p>
                      <a:pPr algn="ctr"/>
                      <a:r>
                        <a:rPr lang="pt-BR" sz="1000" dirty="0" err="1"/>
                        <a:t>Colour</a:t>
                      </a:r>
                      <a:r>
                        <a:rPr lang="pt-BR" sz="1000" dirty="0"/>
                        <a:t> </a:t>
                      </a:r>
                      <a:r>
                        <a:rPr lang="pt-BR" sz="1000" dirty="0" err="1"/>
                        <a:t>Pallete</a:t>
                      </a:r>
                      <a:endParaRPr lang="en-GB" sz="1000" dirty="0"/>
                    </a:p>
                  </a:txBody>
                  <a:tcPr anchor="ctr">
                    <a:lnB w="12700" cmpd="sng">
                      <a:noFill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GB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R</a:t>
                      </a:r>
                      <a:endParaRPr lang="en-GB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G</a:t>
                      </a:r>
                      <a:endParaRPr lang="en-GB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1000" dirty="0"/>
                        <a:t>B</a:t>
                      </a:r>
                      <a:endParaRPr lang="en-GB" sz="10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1D573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9</a:t>
                      </a:r>
                      <a:endParaRPr lang="en-GB" sz="800" dirty="0"/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87</a:t>
                      </a:r>
                      <a:endParaRPr lang="en-GB" sz="8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53</a:t>
                      </a:r>
                      <a:endParaRPr lang="en-GB" sz="800" dirty="0"/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137B5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</a:t>
                      </a:r>
                      <a:endParaRPr lang="en-GB" sz="800" dirty="0"/>
                    </a:p>
                  </a:txBody>
                  <a:tcPr anchor="ctr"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23</a:t>
                      </a:r>
                      <a:endParaRPr lang="en-GB" sz="800" dirty="0"/>
                    </a:p>
                  </a:txBody>
                  <a:tcPr anchor="ctr">
                    <a:lnT w="12700" cmpd="sng">
                      <a:noFill/>
                    </a:lnT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86</a:t>
                      </a:r>
                      <a:endParaRPr lang="en-GB" sz="800" dirty="0"/>
                    </a:p>
                  </a:txBody>
                  <a:tcPr anchor="ctr">
                    <a:lnT w="12700" cmpd="sng">
                      <a:noFill/>
                    </a:lnT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5B877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9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3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14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9BBBA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5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87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72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AE9518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74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49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4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A6991C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6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3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8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E28C0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2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4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E2D8A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2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1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7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0D2B5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4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85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2E75B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46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17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82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78ADDD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2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7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2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C0D5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2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1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4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BFBFBF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91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181717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4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23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/>
                      <a:endParaRPr lang="en-GB" sz="800" dirty="0"/>
                    </a:p>
                  </a:txBody>
                  <a:tcPr anchor="ctr">
                    <a:solidFill>
                      <a:srgbClr val="9E00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158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pt-BR" sz="800" dirty="0"/>
                        <a:t>0</a:t>
                      </a:r>
                      <a:endParaRPr lang="en-GB" sz="800" dirty="0"/>
                    </a:p>
                  </a:txBody>
                  <a:tcPr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583624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73" r:id="rId6"/>
    <p:sldLayoutId id="2147483678" r:id="rId7"/>
    <p:sldLayoutId id="2147483679" r:id="rId8"/>
  </p:sldLayoutIdLst>
  <p:hf hdr="0" ftr="0" dt="0"/>
  <p:txStyles>
    <p:titleStyle>
      <a:lvl1pPr algn="l" defTabSz="914423" rtl="0" eaLnBrk="1" latinLnBrk="0" hangingPunct="1">
        <a:lnSpc>
          <a:spcPct val="90000"/>
        </a:lnSpc>
        <a:spcBef>
          <a:spcPct val="0"/>
        </a:spcBef>
        <a:buNone/>
        <a:defRPr sz="1800" kern="1200" cap="none" baseline="0">
          <a:solidFill>
            <a:srgbClr val="1D5735"/>
          </a:solidFill>
          <a:latin typeface="+mj-lt"/>
          <a:ea typeface="+mj-ea"/>
          <a:cs typeface="+mj-cs"/>
        </a:defRPr>
      </a:lvl1pPr>
    </p:titleStyle>
    <p:bodyStyle>
      <a:lvl1pPr marL="0" indent="0" algn="l" defTabSz="914423" rtl="0" eaLnBrk="1" latinLnBrk="0" hangingPunct="1">
        <a:spcBef>
          <a:spcPts val="0"/>
        </a:spcBef>
        <a:spcAft>
          <a:spcPts val="600"/>
        </a:spcAft>
        <a:buClr>
          <a:schemeClr val="accent3"/>
        </a:buClr>
        <a:buSzPct val="80000"/>
        <a:buFont typeface="Wingdings" pitchFamily="2" charset="2"/>
        <a:buNone/>
        <a:defRPr sz="1000" kern="1200">
          <a:solidFill>
            <a:schemeClr val="tx1"/>
          </a:solidFill>
          <a:latin typeface="+mn-lt"/>
          <a:ea typeface="+mn-ea"/>
          <a:cs typeface="+mn-cs"/>
        </a:defRPr>
      </a:lvl1pPr>
      <a:lvl2pPr marL="180980" indent="-180980" algn="l" defTabSz="914423" rtl="0" eaLnBrk="1" latinLnBrk="0" hangingPunct="1">
        <a:spcBef>
          <a:spcPts val="0"/>
        </a:spcBef>
        <a:spcAft>
          <a:spcPts val="600"/>
        </a:spcAft>
        <a:buClr>
          <a:schemeClr val="accent2"/>
        </a:buClr>
        <a:buSzPct val="85000"/>
        <a:buFont typeface="Wingdings" pitchFamily="2" charset="2"/>
        <a:buChar char=""/>
        <a:defRPr sz="1000" kern="1200">
          <a:solidFill>
            <a:schemeClr val="tx1"/>
          </a:solidFill>
          <a:latin typeface="+mn-lt"/>
          <a:ea typeface="+mn-ea"/>
          <a:cs typeface="+mn-cs"/>
        </a:defRPr>
      </a:lvl2pPr>
      <a:lvl3pPr marL="361959" indent="-180980" algn="l" defTabSz="914423" rtl="0" eaLnBrk="1" latinLnBrk="0" hangingPunct="1">
        <a:spcBef>
          <a:spcPts val="0"/>
        </a:spcBef>
        <a:spcAft>
          <a:spcPts val="600"/>
        </a:spcAft>
        <a:buClr>
          <a:schemeClr val="tx1"/>
        </a:buClr>
        <a:buSzPct val="120000"/>
        <a:buFont typeface="HelveticaNeue LT 45 Lt" pitchFamily="34" charset="0"/>
        <a:buChar char="—"/>
        <a:defRPr sz="1000" kern="1200">
          <a:solidFill>
            <a:schemeClr val="tx1"/>
          </a:solidFill>
          <a:latin typeface="+mn-lt"/>
          <a:ea typeface="+mn-ea"/>
          <a:cs typeface="+mn-cs"/>
        </a:defRPr>
      </a:lvl3pPr>
      <a:lvl4pPr marL="542939" indent="-180980" algn="l" defTabSz="914423" rtl="0" eaLnBrk="1" latinLnBrk="0" hangingPunct="1">
        <a:spcBef>
          <a:spcPts val="0"/>
        </a:spcBef>
        <a:spcAft>
          <a:spcPts val="600"/>
        </a:spcAft>
        <a:buClr>
          <a:schemeClr val="tx1"/>
        </a:buClr>
        <a:buSzPct val="120000"/>
        <a:buFont typeface="HelveticaNeue LT 45 Lt" pitchFamily="34" charset="0"/>
        <a:buChar char="—"/>
        <a:defRPr sz="1000" kern="1200" baseline="0">
          <a:solidFill>
            <a:schemeClr val="tx1"/>
          </a:solidFill>
          <a:latin typeface="+mn-lt"/>
          <a:ea typeface="+mn-ea"/>
          <a:cs typeface="+mn-cs"/>
        </a:defRPr>
      </a:lvl4pPr>
      <a:lvl5pPr marL="2057452" indent="-228606" algn="l" defTabSz="914423" rtl="0" eaLnBrk="1" latinLnBrk="0" hangingPunct="1">
        <a:spcBef>
          <a:spcPts val="0"/>
        </a:spcBef>
        <a:spcAft>
          <a:spcPts val="360"/>
        </a:spcAft>
        <a:buFont typeface="Calibri" pitchFamily="34" charset="0"/>
        <a:buChar char="—"/>
        <a:defRPr sz="1000" kern="1200">
          <a:solidFill>
            <a:srgbClr val="4D4F53"/>
          </a:solidFill>
          <a:latin typeface="HelveticaNeue LT 45 Lt" pitchFamily="34" charset="0"/>
          <a:ea typeface="+mn-ea"/>
          <a:cs typeface="+mn-cs"/>
        </a:defRPr>
      </a:lvl5pPr>
      <a:lvl6pPr marL="2514663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74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86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97" indent="-228606" algn="l" defTabSz="914423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12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23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34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46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57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69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80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91" algn="l" defTabSz="91442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7217">
          <p15:clr>
            <a:srgbClr val="F26B43"/>
          </p15:clr>
        </p15:guide>
        <p15:guide id="2" orient="horz" pos="278">
          <p15:clr>
            <a:srgbClr val="F26B43"/>
          </p15:clr>
        </p15:guide>
        <p15:guide id="3" orient="horz" pos="550">
          <p15:clr>
            <a:srgbClr val="F26B43"/>
          </p15:clr>
        </p15:guide>
        <p15:guide id="4" pos="738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5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to 5" hidden="1">
            <a:extLst>
              <a:ext uri="{FF2B5EF4-FFF2-40B4-BE49-F238E27FC236}">
                <a16:creationId xmlns:a16="http://schemas.microsoft.com/office/drawing/2014/main" id="{8B601643-B97A-23B3-EC5B-6B82EF2F717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Slide do think-cell" r:id="rId3" imgW="395" imgH="394" progId="TCLayout.ActiveDocument.1">
                  <p:embed/>
                </p:oleObj>
              </mc:Choice>
              <mc:Fallback>
                <p:oleObj name="Slide do think-cell" r:id="rId3" imgW="395" imgH="394" progId="TCLayout.ActiveDocument.1">
                  <p:embed/>
                  <p:pic>
                    <p:nvPicPr>
                      <p:cNvPr id="6" name="Objeto 5" hidden="1">
                        <a:extLst>
                          <a:ext uri="{FF2B5EF4-FFF2-40B4-BE49-F238E27FC236}">
                            <a16:creationId xmlns:a16="http://schemas.microsoft.com/office/drawing/2014/main" id="{8B601643-B97A-23B3-EC5B-6B82EF2F717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Espaço Reservado para Conteúdo 7">
            <a:extLst>
              <a:ext uri="{FF2B5EF4-FFF2-40B4-BE49-F238E27FC236}">
                <a16:creationId xmlns:a16="http://schemas.microsoft.com/office/drawing/2014/main" id="{C1B9D129-07C7-4EB0-BC65-76BDBD9F544B}"/>
              </a:ext>
            </a:extLst>
          </p:cNvPr>
          <p:cNvSpPr>
            <a:spLocks noGrp="1"/>
          </p:cNvSpPr>
          <p:nvPr>
            <p:ph sz="quarter" idx="4294967295"/>
          </p:nvPr>
        </p:nvSpPr>
        <p:spPr>
          <a:xfrm>
            <a:off x="8922627" y="1155126"/>
            <a:ext cx="2756507" cy="275440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0" tIns="45720" rIns="91440" bIns="45720" anchor="t"/>
          <a:lstStyle/>
          <a:p>
            <a:pPr marL="182245" indent="0">
              <a:buNone/>
            </a:pPr>
            <a:r>
              <a:rPr lang="pt-BR" sz="1100" b="1" dirty="0">
                <a:latin typeface="+mj-lt"/>
              </a:rPr>
              <a:t>ÁREA/LOCAL: Mina</a:t>
            </a:r>
          </a:p>
          <a:p>
            <a:pPr marL="182245" indent="0">
              <a:buNone/>
            </a:pPr>
            <a:r>
              <a:rPr lang="pt-BR" sz="1100" b="1" u="sng" dirty="0">
                <a:latin typeface="+mj-lt"/>
              </a:rPr>
              <a:t>Horário de Atendimentos: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100" dirty="0">
                <a:latin typeface="+mj-lt"/>
              </a:rPr>
              <a:t>Sextas - Das 13h00 às 16h00</a:t>
            </a:r>
          </a:p>
          <a:p>
            <a:pPr marL="182245" indent="0">
              <a:buNone/>
            </a:pPr>
            <a:endParaRPr lang="pt-BR" sz="1100" b="1" u="sng" dirty="0">
              <a:latin typeface="+mj-lt"/>
            </a:endParaRPr>
          </a:p>
          <a:p>
            <a:pPr marL="182245" indent="0">
              <a:buNone/>
            </a:pPr>
            <a:r>
              <a:rPr lang="pt-BR" sz="1100" b="1" u="sng" dirty="0">
                <a:latin typeface="+mj-lt"/>
              </a:rPr>
              <a:t>Datas Programadas: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100" b="1" dirty="0">
                <a:latin typeface="+mj-lt"/>
              </a:rPr>
              <a:t>Janeiro</a:t>
            </a:r>
            <a:r>
              <a:rPr lang="pt-BR" sz="1100" dirty="0">
                <a:latin typeface="+mj-lt"/>
              </a:rPr>
              <a:t> – 26/01/2024 (</a:t>
            </a:r>
            <a:r>
              <a:rPr lang="pt-BR" sz="1100" b="1" dirty="0">
                <a:latin typeface="+mj-lt"/>
              </a:rPr>
              <a:t>Batinga</a:t>
            </a:r>
            <a:r>
              <a:rPr lang="pt-BR" sz="1100" dirty="0">
                <a:latin typeface="+mj-lt"/>
              </a:rPr>
              <a:t>)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100" b="1" dirty="0">
                <a:latin typeface="+mj-lt"/>
              </a:rPr>
              <a:t>Fevereiro</a:t>
            </a:r>
            <a:r>
              <a:rPr lang="pt-BR" sz="1100" dirty="0">
                <a:latin typeface="+mj-lt"/>
              </a:rPr>
              <a:t> – 23/02/2024 (</a:t>
            </a:r>
            <a:r>
              <a:rPr lang="pt-BR" sz="1100" b="1" dirty="0">
                <a:latin typeface="+mj-lt"/>
              </a:rPr>
              <a:t>Fernanda</a:t>
            </a:r>
            <a:r>
              <a:rPr lang="pt-BR" sz="1100" dirty="0">
                <a:latin typeface="+mj-lt"/>
              </a:rPr>
              <a:t>)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100" b="1" dirty="0">
                <a:latin typeface="+mj-lt"/>
              </a:rPr>
              <a:t>Março</a:t>
            </a:r>
            <a:r>
              <a:rPr lang="pt-BR" sz="1100" dirty="0">
                <a:latin typeface="+mj-lt"/>
              </a:rPr>
              <a:t> – 22/03/2024 (</a:t>
            </a:r>
            <a:r>
              <a:rPr lang="pt-BR" sz="1100" b="1" dirty="0">
                <a:latin typeface="+mj-lt"/>
              </a:rPr>
              <a:t>Mariana</a:t>
            </a:r>
            <a:r>
              <a:rPr lang="pt-BR" sz="1100" dirty="0">
                <a:latin typeface="+mj-lt"/>
              </a:rPr>
              <a:t>)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100" b="1" dirty="0">
                <a:latin typeface="+mj-lt"/>
              </a:rPr>
              <a:t>Abril</a:t>
            </a:r>
            <a:r>
              <a:rPr lang="pt-BR" sz="1100" dirty="0">
                <a:latin typeface="+mj-lt"/>
              </a:rPr>
              <a:t> – 26/04/2024 (</a:t>
            </a:r>
            <a:r>
              <a:rPr lang="pt-BR" sz="1100" b="1" dirty="0">
                <a:latin typeface="+mj-lt"/>
              </a:rPr>
              <a:t>Batinga</a:t>
            </a:r>
            <a:r>
              <a:rPr lang="pt-BR" sz="1100" dirty="0">
                <a:latin typeface="+mj-lt"/>
              </a:rPr>
              <a:t>)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100" b="1" dirty="0">
                <a:latin typeface="+mj-lt"/>
              </a:rPr>
              <a:t>Maio</a:t>
            </a:r>
            <a:r>
              <a:rPr lang="pt-BR" sz="1100" dirty="0">
                <a:latin typeface="+mj-lt"/>
              </a:rPr>
              <a:t> – 24/05/2024 (</a:t>
            </a:r>
            <a:r>
              <a:rPr lang="pt-BR" sz="1100" b="1" dirty="0">
                <a:latin typeface="+mj-lt"/>
              </a:rPr>
              <a:t>Fernanda</a:t>
            </a:r>
            <a:r>
              <a:rPr lang="pt-BR" sz="1100" dirty="0">
                <a:latin typeface="+mj-lt"/>
              </a:rPr>
              <a:t>)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100" b="1" dirty="0">
                <a:latin typeface="+mj-lt"/>
              </a:rPr>
              <a:t>Junho</a:t>
            </a:r>
            <a:r>
              <a:rPr lang="pt-BR" sz="1100" dirty="0">
                <a:latin typeface="+mj-lt"/>
              </a:rPr>
              <a:t> – 28/06/2024 (</a:t>
            </a:r>
            <a:r>
              <a:rPr lang="pt-BR" sz="1100" b="1" dirty="0">
                <a:latin typeface="+mj-lt"/>
              </a:rPr>
              <a:t>Mariana</a:t>
            </a:r>
            <a:r>
              <a:rPr lang="pt-BR" sz="1100" dirty="0">
                <a:latin typeface="+mj-lt"/>
              </a:rPr>
              <a:t>)</a:t>
            </a:r>
          </a:p>
          <a:p>
            <a:pPr marL="182245">
              <a:buClr>
                <a:schemeClr val="accent6">
                  <a:lumMod val="50000"/>
                </a:schemeClr>
              </a:buClr>
            </a:pPr>
            <a:endParaRPr lang="pt-BR" sz="1100" dirty="0">
              <a:latin typeface="+mj-lt"/>
            </a:endParaRPr>
          </a:p>
        </p:txBody>
      </p:sp>
      <p:sp>
        <p:nvSpPr>
          <p:cNvPr id="9" name="Text Box 3">
            <a:extLst>
              <a:ext uri="{FF2B5EF4-FFF2-40B4-BE49-F238E27FC236}">
                <a16:creationId xmlns:a16="http://schemas.microsoft.com/office/drawing/2014/main" id="{25C1234C-9AD2-45FA-D4AC-C49B087EA928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5740" y="247632"/>
            <a:ext cx="8396979" cy="5539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>
            <a:spAutoFit/>
          </a:bodyPr>
          <a:lstStyle/>
          <a:p>
            <a:r>
              <a:rPr lang="en-US" sz="3000" b="1" dirty="0" err="1">
                <a:latin typeface="Arial" charset="0"/>
              </a:rPr>
              <a:t>Cronograma</a:t>
            </a:r>
            <a:r>
              <a:rPr lang="en-US" sz="3000" b="1" dirty="0">
                <a:latin typeface="Arial" charset="0"/>
              </a:rPr>
              <a:t> de Atendimento – RH </a:t>
            </a:r>
            <a:r>
              <a:rPr lang="en-US" sz="3000" b="1" dirty="0" err="1">
                <a:latin typeface="Arial" charset="0"/>
              </a:rPr>
              <a:t>nas</a:t>
            </a:r>
            <a:r>
              <a:rPr lang="en-US" sz="3000" b="1" dirty="0">
                <a:latin typeface="Arial" charset="0"/>
              </a:rPr>
              <a:t> </a:t>
            </a:r>
            <a:r>
              <a:rPr lang="en-US" sz="3000" b="1" dirty="0" err="1">
                <a:latin typeface="Arial" charset="0"/>
              </a:rPr>
              <a:t>Áreas</a:t>
            </a:r>
            <a:endParaRPr lang="pt-BR" sz="3000" b="1" dirty="0">
              <a:latin typeface="Arial" charset="0"/>
            </a:endParaRPr>
          </a:p>
        </p:txBody>
      </p:sp>
      <p:sp>
        <p:nvSpPr>
          <p:cNvPr id="10" name="Espaço Reservado para Conteúdo 7">
            <a:extLst>
              <a:ext uri="{FF2B5EF4-FFF2-40B4-BE49-F238E27FC236}">
                <a16:creationId xmlns:a16="http://schemas.microsoft.com/office/drawing/2014/main" id="{D2F9B194-9132-EC3D-D1B9-95C7A8A1782E}"/>
              </a:ext>
            </a:extLst>
          </p:cNvPr>
          <p:cNvSpPr txBox="1">
            <a:spLocks/>
          </p:cNvSpPr>
          <p:nvPr/>
        </p:nvSpPr>
        <p:spPr>
          <a:xfrm>
            <a:off x="499875" y="1155127"/>
            <a:ext cx="2756507" cy="275440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0" tIns="45720" rIns="91440" bIns="45720" anchor="t"/>
          <a:lstStyle>
            <a:lvl1pPr marL="0" indent="0" algn="l" defTabSz="91442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0000"/>
              <a:buFont typeface="Wingdings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80" indent="-180980" algn="l" defTabSz="91442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85000"/>
              <a:buFont typeface="Wingdings" pitchFamily="2" charset="2"/>
              <a:buChar char="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9" indent="-180980" algn="l" defTabSz="91442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HelveticaNeue LT 45 Lt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2939" indent="-180980" algn="l" defTabSz="91442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HelveticaNeue LT 45 Lt" pitchFamily="34" charset="0"/>
              <a:buChar char="—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52" indent="-228606" algn="l" defTabSz="914423" rtl="0" eaLnBrk="1" latinLnBrk="0" hangingPunct="1">
              <a:spcBef>
                <a:spcPts val="0"/>
              </a:spcBef>
              <a:spcAft>
                <a:spcPts val="360"/>
              </a:spcAft>
              <a:buFont typeface="Calibri" pitchFamily="34" charset="0"/>
              <a:buChar char="—"/>
              <a:defRPr sz="1000" kern="1200">
                <a:solidFill>
                  <a:srgbClr val="4D4F53"/>
                </a:solidFill>
                <a:latin typeface="HelveticaNeue LT 45 Lt" pitchFamily="34" charset="0"/>
                <a:ea typeface="+mn-ea"/>
                <a:cs typeface="+mn-cs"/>
              </a:defRPr>
            </a:lvl5pPr>
            <a:lvl6pPr marL="2514663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245" indent="0">
              <a:buNone/>
            </a:pPr>
            <a:r>
              <a:rPr lang="pt-BR" sz="1100" b="1" dirty="0">
                <a:latin typeface="+mj-lt"/>
              </a:rPr>
              <a:t>ÁREA/LOCAL: Almoxarifado</a:t>
            </a:r>
          </a:p>
          <a:p>
            <a:pPr marL="182245" indent="0">
              <a:buNone/>
            </a:pPr>
            <a:r>
              <a:rPr lang="pt-BR" sz="1100" b="1" u="sng" dirty="0">
                <a:latin typeface="+mj-lt"/>
              </a:rPr>
              <a:t>Horário de Atendimentos: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100" dirty="0">
                <a:latin typeface="+mj-lt"/>
              </a:rPr>
              <a:t>Sextas - Das 13h00 às 16h00</a:t>
            </a:r>
          </a:p>
          <a:p>
            <a:pPr marL="182245" indent="0">
              <a:buNone/>
            </a:pPr>
            <a:endParaRPr lang="pt-BR" sz="1100" b="1" dirty="0">
              <a:latin typeface="+mj-lt"/>
            </a:endParaRPr>
          </a:p>
          <a:p>
            <a:pPr marL="182245" indent="0">
              <a:buNone/>
            </a:pPr>
            <a:r>
              <a:rPr lang="pt-BR" sz="1100" b="1" u="sng" dirty="0">
                <a:latin typeface="+mj-lt"/>
              </a:rPr>
              <a:t>Datas programadas: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100" b="1" dirty="0">
                <a:latin typeface="+mj-lt"/>
              </a:rPr>
              <a:t>Janeiro</a:t>
            </a:r>
            <a:r>
              <a:rPr lang="pt-BR" sz="1100" dirty="0">
                <a:latin typeface="+mj-lt"/>
              </a:rPr>
              <a:t> – 05/01/2024 (</a:t>
            </a:r>
            <a:r>
              <a:rPr lang="pt-BR" sz="1100" b="1" dirty="0">
                <a:latin typeface="+mj-lt"/>
              </a:rPr>
              <a:t>Mariana</a:t>
            </a:r>
            <a:r>
              <a:rPr lang="pt-BR" sz="1100" dirty="0">
                <a:latin typeface="+mj-lt"/>
              </a:rPr>
              <a:t>)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100" b="1" dirty="0">
                <a:latin typeface="+mj-lt"/>
              </a:rPr>
              <a:t>Fevereiro</a:t>
            </a:r>
            <a:r>
              <a:rPr lang="pt-BR" sz="1100" dirty="0">
                <a:latin typeface="+mj-lt"/>
              </a:rPr>
              <a:t> – 02/02/2024  (</a:t>
            </a:r>
            <a:r>
              <a:rPr lang="pt-BR" sz="1100" b="1" dirty="0">
                <a:latin typeface="+mj-lt"/>
              </a:rPr>
              <a:t>Batinga</a:t>
            </a:r>
            <a:r>
              <a:rPr lang="pt-BR" sz="1100" dirty="0">
                <a:latin typeface="+mj-lt"/>
              </a:rPr>
              <a:t>)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100" b="1" dirty="0">
                <a:latin typeface="+mj-lt"/>
              </a:rPr>
              <a:t>Março</a:t>
            </a:r>
            <a:r>
              <a:rPr lang="pt-BR" sz="1100" dirty="0">
                <a:latin typeface="+mj-lt"/>
              </a:rPr>
              <a:t> – 01/03/2024 (</a:t>
            </a:r>
            <a:r>
              <a:rPr lang="pt-BR" sz="1100" b="1" dirty="0">
                <a:latin typeface="+mj-lt"/>
              </a:rPr>
              <a:t>Batinga</a:t>
            </a:r>
            <a:r>
              <a:rPr lang="pt-BR" sz="1100" dirty="0">
                <a:latin typeface="+mj-lt"/>
              </a:rPr>
              <a:t>)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100" b="1" dirty="0">
                <a:latin typeface="+mj-lt"/>
              </a:rPr>
              <a:t>Abril</a:t>
            </a:r>
            <a:r>
              <a:rPr lang="pt-BR" sz="1100" dirty="0">
                <a:latin typeface="+mj-lt"/>
              </a:rPr>
              <a:t> – 05/04/2024 (</a:t>
            </a:r>
            <a:r>
              <a:rPr lang="pt-BR" sz="1100" b="1" dirty="0">
                <a:latin typeface="+mj-lt"/>
              </a:rPr>
              <a:t>Batinga</a:t>
            </a:r>
            <a:r>
              <a:rPr lang="pt-BR" sz="1100" dirty="0">
                <a:latin typeface="+mj-lt"/>
              </a:rPr>
              <a:t>)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100" b="1" dirty="0">
                <a:latin typeface="+mj-lt"/>
              </a:rPr>
              <a:t>Maio</a:t>
            </a:r>
            <a:r>
              <a:rPr lang="pt-BR" sz="1100" dirty="0">
                <a:latin typeface="+mj-lt"/>
              </a:rPr>
              <a:t> – 03/05/2024 (</a:t>
            </a:r>
            <a:r>
              <a:rPr lang="pt-BR" sz="1100" b="1" dirty="0">
                <a:latin typeface="+mj-lt"/>
              </a:rPr>
              <a:t>Batinga</a:t>
            </a:r>
            <a:r>
              <a:rPr lang="pt-BR" sz="1100" dirty="0">
                <a:latin typeface="+mj-lt"/>
              </a:rPr>
              <a:t>)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100" b="1" dirty="0">
                <a:latin typeface="+mj-lt"/>
              </a:rPr>
              <a:t>Junho</a:t>
            </a:r>
            <a:r>
              <a:rPr lang="pt-BR" sz="1100" dirty="0">
                <a:latin typeface="+mj-lt"/>
              </a:rPr>
              <a:t> – 07/06/2024 (</a:t>
            </a:r>
            <a:r>
              <a:rPr lang="pt-BR" sz="1100" b="1" dirty="0">
                <a:latin typeface="+mj-lt"/>
              </a:rPr>
              <a:t>Batinga</a:t>
            </a:r>
            <a:r>
              <a:rPr lang="pt-BR" sz="1100" dirty="0">
                <a:latin typeface="+mj-lt"/>
              </a:rPr>
              <a:t>)</a:t>
            </a:r>
          </a:p>
        </p:txBody>
      </p:sp>
      <p:sp>
        <p:nvSpPr>
          <p:cNvPr id="11" name="Espaço Reservado para Conteúdo 7">
            <a:extLst>
              <a:ext uri="{FF2B5EF4-FFF2-40B4-BE49-F238E27FC236}">
                <a16:creationId xmlns:a16="http://schemas.microsoft.com/office/drawing/2014/main" id="{63F56501-53D0-3CE2-1C11-8DF9718542F0}"/>
              </a:ext>
            </a:extLst>
          </p:cNvPr>
          <p:cNvSpPr txBox="1">
            <a:spLocks/>
          </p:cNvSpPr>
          <p:nvPr/>
        </p:nvSpPr>
        <p:spPr>
          <a:xfrm>
            <a:off x="499875" y="3984171"/>
            <a:ext cx="11184278" cy="2192693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0" tIns="45720" rIns="91440" bIns="45720" anchor="t"/>
          <a:lstStyle>
            <a:lvl1pPr marL="0" indent="0" algn="l" defTabSz="91442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0000"/>
              <a:buFont typeface="Wingdings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80" indent="-180980" algn="l" defTabSz="91442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85000"/>
              <a:buFont typeface="Wingdings" pitchFamily="2" charset="2"/>
              <a:buChar char="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9" indent="-180980" algn="l" defTabSz="91442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HelveticaNeue LT 45 Lt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2939" indent="-180980" algn="l" defTabSz="91442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HelveticaNeue LT 45 Lt" pitchFamily="34" charset="0"/>
              <a:buChar char="—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52" indent="-228606" algn="l" defTabSz="914423" rtl="0" eaLnBrk="1" latinLnBrk="0" hangingPunct="1">
              <a:spcBef>
                <a:spcPts val="0"/>
              </a:spcBef>
              <a:spcAft>
                <a:spcPts val="360"/>
              </a:spcAft>
              <a:buFont typeface="Calibri" pitchFamily="34" charset="0"/>
              <a:buChar char="—"/>
              <a:defRPr sz="1000" kern="1200">
                <a:solidFill>
                  <a:srgbClr val="4D4F53"/>
                </a:solidFill>
                <a:latin typeface="HelveticaNeue LT 45 Lt" pitchFamily="34" charset="0"/>
                <a:ea typeface="+mn-ea"/>
                <a:cs typeface="+mn-cs"/>
              </a:defRPr>
            </a:lvl5pPr>
            <a:lvl6pPr marL="2514663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245" indent="0" algn="ctr">
              <a:buNone/>
            </a:pPr>
            <a:endParaRPr lang="pt-BR" sz="1400" b="1" dirty="0">
              <a:latin typeface="+mj-lt"/>
            </a:endParaRPr>
          </a:p>
          <a:p>
            <a:pPr marL="182245" indent="0" algn="ctr">
              <a:buNone/>
            </a:pPr>
            <a:r>
              <a:rPr lang="pt-BR" sz="1400" b="1" dirty="0">
                <a:latin typeface="+mj-lt"/>
              </a:rPr>
              <a:t>ÁREAS: Administrativas</a:t>
            </a:r>
          </a:p>
          <a:p>
            <a:pPr marL="353695" indent="-171450" algn="ctr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400" dirty="0">
                <a:latin typeface="+mj-lt"/>
              </a:rPr>
              <a:t>Os atendimentos ocorrerão normalmente nos horários de trabalho de segunda a sexta.</a:t>
            </a:r>
          </a:p>
          <a:p>
            <a:pPr marL="353695" indent="-171450" algn="ctr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400" dirty="0">
                <a:latin typeface="+mj-lt"/>
              </a:rPr>
              <a:t>O RH continua de portas abertas em qualquer dia da semana para todos os empregados, incluindo os empregados que serão atendidas pelo RH nas Áreas.</a:t>
            </a:r>
          </a:p>
          <a:p>
            <a:pPr marL="353695" indent="-171450" algn="ctr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endParaRPr lang="pt-BR" sz="1400" dirty="0">
              <a:latin typeface="+mj-lt"/>
            </a:endParaRPr>
          </a:p>
          <a:p>
            <a:pPr marL="182245" algn="r"/>
            <a:r>
              <a:rPr lang="pt-BR" sz="1100" dirty="0">
                <a:latin typeface="+mj-lt"/>
              </a:rPr>
              <a:t>* Este calendário poderá ocorrer alterações, caso necessário.</a:t>
            </a:r>
          </a:p>
        </p:txBody>
      </p:sp>
      <p:sp>
        <p:nvSpPr>
          <p:cNvPr id="2" name="Espaço Reservado para Conteúdo 7">
            <a:extLst>
              <a:ext uri="{FF2B5EF4-FFF2-40B4-BE49-F238E27FC236}">
                <a16:creationId xmlns:a16="http://schemas.microsoft.com/office/drawing/2014/main" id="{36120CD9-A5A1-9172-EB2A-0C571E4024EB}"/>
              </a:ext>
            </a:extLst>
          </p:cNvPr>
          <p:cNvSpPr txBox="1">
            <a:spLocks/>
          </p:cNvSpPr>
          <p:nvPr/>
        </p:nvSpPr>
        <p:spPr>
          <a:xfrm>
            <a:off x="6115043" y="1155126"/>
            <a:ext cx="2756507" cy="275440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0" tIns="45720" rIns="91440" bIns="45720" anchor="t"/>
          <a:lstStyle>
            <a:lvl1pPr marL="0" indent="0" algn="l" defTabSz="91442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0000"/>
              <a:buFont typeface="Wingdings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80" indent="-180980" algn="l" defTabSz="91442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85000"/>
              <a:buFont typeface="Wingdings" pitchFamily="2" charset="2"/>
              <a:buChar char="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9" indent="-180980" algn="l" defTabSz="91442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HelveticaNeue LT 45 Lt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2939" indent="-180980" algn="l" defTabSz="91442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HelveticaNeue LT 45 Lt" pitchFamily="34" charset="0"/>
              <a:buChar char="—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52" indent="-228606" algn="l" defTabSz="914423" rtl="0" eaLnBrk="1" latinLnBrk="0" hangingPunct="1">
              <a:spcBef>
                <a:spcPts val="0"/>
              </a:spcBef>
              <a:spcAft>
                <a:spcPts val="360"/>
              </a:spcAft>
              <a:buFont typeface="Calibri" pitchFamily="34" charset="0"/>
              <a:buChar char="—"/>
              <a:defRPr sz="1000" kern="1200">
                <a:solidFill>
                  <a:srgbClr val="4D4F53"/>
                </a:solidFill>
                <a:latin typeface="HelveticaNeue LT 45 Lt" pitchFamily="34" charset="0"/>
                <a:ea typeface="+mn-ea"/>
                <a:cs typeface="+mn-cs"/>
              </a:defRPr>
            </a:lvl5pPr>
            <a:lvl6pPr marL="2514663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245"/>
            <a:r>
              <a:rPr lang="pt-BR" sz="1100" b="1" dirty="0">
                <a:latin typeface="+mj-lt"/>
              </a:rPr>
              <a:t>ÁREA/LOCAL: Operação Planta</a:t>
            </a:r>
          </a:p>
          <a:p>
            <a:pPr marL="182245"/>
            <a:r>
              <a:rPr lang="pt-BR" sz="1100" b="1" u="sng" dirty="0">
                <a:latin typeface="+mj-lt"/>
              </a:rPr>
              <a:t>Horário de Atendimentos: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</a:pPr>
            <a:r>
              <a:rPr lang="pt-BR" sz="1100" dirty="0">
                <a:latin typeface="+mj-lt"/>
              </a:rPr>
              <a:t>Sextas - Das 13h00 às 16h00</a:t>
            </a:r>
          </a:p>
          <a:p>
            <a:pPr marL="182245"/>
            <a:endParaRPr lang="pt-BR" sz="1100" b="1" u="sng" dirty="0">
              <a:latin typeface="+mj-lt"/>
            </a:endParaRPr>
          </a:p>
          <a:p>
            <a:pPr marL="182245"/>
            <a:r>
              <a:rPr lang="pt-BR" sz="1100" b="1" u="sng" dirty="0">
                <a:latin typeface="+mj-lt"/>
              </a:rPr>
              <a:t>Datas Programadas: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</a:pPr>
            <a:r>
              <a:rPr lang="pt-BR" sz="1100" b="1" dirty="0">
                <a:latin typeface="+mj-lt"/>
              </a:rPr>
              <a:t>Janeiro</a:t>
            </a:r>
            <a:r>
              <a:rPr lang="pt-BR" sz="1100" dirty="0">
                <a:latin typeface="+mj-lt"/>
              </a:rPr>
              <a:t> – 19/01/2024 (</a:t>
            </a:r>
            <a:r>
              <a:rPr lang="pt-BR" sz="1100" b="1" dirty="0">
                <a:latin typeface="+mj-lt"/>
              </a:rPr>
              <a:t>Mariana</a:t>
            </a:r>
            <a:r>
              <a:rPr lang="pt-BR" sz="1100" dirty="0">
                <a:latin typeface="+mj-lt"/>
              </a:rPr>
              <a:t>)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</a:pPr>
            <a:r>
              <a:rPr lang="pt-BR" sz="1100" b="1" dirty="0">
                <a:latin typeface="+mj-lt"/>
              </a:rPr>
              <a:t>Fevereiro</a:t>
            </a:r>
            <a:r>
              <a:rPr lang="pt-BR" sz="1100" dirty="0">
                <a:latin typeface="+mj-lt"/>
              </a:rPr>
              <a:t> – 16/02/2024 (</a:t>
            </a:r>
            <a:r>
              <a:rPr lang="pt-BR" sz="1100" b="1" dirty="0">
                <a:latin typeface="+mj-lt"/>
              </a:rPr>
              <a:t>Mariana</a:t>
            </a:r>
            <a:r>
              <a:rPr lang="pt-BR" sz="1100" dirty="0">
                <a:latin typeface="+mj-lt"/>
              </a:rPr>
              <a:t>)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</a:pPr>
            <a:r>
              <a:rPr lang="pt-BR" sz="1100" b="1" dirty="0">
                <a:latin typeface="+mj-lt"/>
              </a:rPr>
              <a:t>Março</a:t>
            </a:r>
            <a:r>
              <a:rPr lang="pt-BR" sz="1100" dirty="0">
                <a:latin typeface="+mj-lt"/>
              </a:rPr>
              <a:t> – 15/03/2024 (</a:t>
            </a:r>
            <a:r>
              <a:rPr lang="pt-BR" sz="1100" b="1" dirty="0">
                <a:latin typeface="+mj-lt"/>
              </a:rPr>
              <a:t>Mariana</a:t>
            </a:r>
            <a:r>
              <a:rPr lang="pt-BR" sz="1100" dirty="0">
                <a:latin typeface="+mj-lt"/>
              </a:rPr>
              <a:t>)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</a:pPr>
            <a:r>
              <a:rPr lang="pt-BR" sz="1100" b="1" dirty="0">
                <a:latin typeface="+mj-lt"/>
              </a:rPr>
              <a:t>Abril</a:t>
            </a:r>
            <a:r>
              <a:rPr lang="pt-BR" sz="1100" dirty="0">
                <a:latin typeface="+mj-lt"/>
              </a:rPr>
              <a:t> –19/04/2024 (</a:t>
            </a:r>
            <a:r>
              <a:rPr lang="pt-BR" sz="1100" b="1" dirty="0">
                <a:latin typeface="+mj-lt"/>
              </a:rPr>
              <a:t>Mariana</a:t>
            </a:r>
            <a:r>
              <a:rPr lang="pt-BR" sz="1100" dirty="0">
                <a:latin typeface="+mj-lt"/>
              </a:rPr>
              <a:t>)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</a:pPr>
            <a:r>
              <a:rPr lang="pt-BR" sz="1100" b="1" dirty="0">
                <a:latin typeface="+mj-lt"/>
              </a:rPr>
              <a:t>Maio</a:t>
            </a:r>
            <a:r>
              <a:rPr lang="pt-BR" sz="1100" dirty="0">
                <a:latin typeface="+mj-lt"/>
              </a:rPr>
              <a:t> – 17/05/2024 (</a:t>
            </a:r>
            <a:r>
              <a:rPr lang="pt-BR" sz="1100" b="1" dirty="0">
                <a:latin typeface="+mj-lt"/>
              </a:rPr>
              <a:t>Mariana</a:t>
            </a:r>
            <a:r>
              <a:rPr lang="pt-BR" sz="1100" dirty="0">
                <a:latin typeface="+mj-lt"/>
              </a:rPr>
              <a:t>)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itchFamily="2" charset="2"/>
              <a:buChar char="§"/>
            </a:pPr>
            <a:r>
              <a:rPr lang="pt-BR" sz="1100" b="1" dirty="0">
                <a:latin typeface="+mj-lt"/>
              </a:rPr>
              <a:t>Junho</a:t>
            </a:r>
            <a:r>
              <a:rPr lang="pt-BR" sz="1100" dirty="0">
                <a:latin typeface="+mj-lt"/>
              </a:rPr>
              <a:t> – 21/06/2024 (</a:t>
            </a:r>
            <a:r>
              <a:rPr lang="pt-BR" sz="1100" b="1" dirty="0">
                <a:latin typeface="+mj-lt"/>
              </a:rPr>
              <a:t>Mariana</a:t>
            </a:r>
            <a:r>
              <a:rPr lang="pt-BR" sz="1100" dirty="0">
                <a:latin typeface="+mj-lt"/>
              </a:rPr>
              <a:t>)</a:t>
            </a:r>
          </a:p>
          <a:p>
            <a:pPr marL="182245">
              <a:buClr>
                <a:schemeClr val="accent6">
                  <a:lumMod val="50000"/>
                </a:schemeClr>
              </a:buClr>
            </a:pPr>
            <a:endParaRPr lang="pt-BR" sz="1100" dirty="0">
              <a:latin typeface="+mj-lt"/>
            </a:endParaRPr>
          </a:p>
        </p:txBody>
      </p:sp>
      <p:sp>
        <p:nvSpPr>
          <p:cNvPr id="3" name="Espaço Reservado para Conteúdo 7">
            <a:extLst>
              <a:ext uri="{FF2B5EF4-FFF2-40B4-BE49-F238E27FC236}">
                <a16:creationId xmlns:a16="http://schemas.microsoft.com/office/drawing/2014/main" id="{009950E8-AE09-E18A-7BD7-A1411E260EE0}"/>
              </a:ext>
            </a:extLst>
          </p:cNvPr>
          <p:cNvSpPr txBox="1">
            <a:spLocks/>
          </p:cNvSpPr>
          <p:nvPr/>
        </p:nvSpPr>
        <p:spPr>
          <a:xfrm>
            <a:off x="3307459" y="1155126"/>
            <a:ext cx="2756507" cy="2754401"/>
          </a:xfrm>
          <a:prstGeom prst="rect">
            <a:avLst/>
          </a:prstGeom>
          <a:ln>
            <a:solidFill>
              <a:schemeClr val="tx1"/>
            </a:solidFill>
          </a:ln>
        </p:spPr>
        <p:txBody>
          <a:bodyPr lIns="0" tIns="45720" rIns="91440" bIns="45720" anchor="t"/>
          <a:lstStyle>
            <a:lvl1pPr marL="0" indent="0" algn="l" defTabSz="91442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3"/>
              </a:buClr>
              <a:buSzPct val="80000"/>
              <a:buFont typeface="Wingdings" pitchFamily="2" charset="2"/>
              <a:buNone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0980" indent="-180980" algn="l" defTabSz="91442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accent2"/>
              </a:buClr>
              <a:buSzPct val="85000"/>
              <a:buFont typeface="Wingdings" pitchFamily="2" charset="2"/>
              <a:buChar char="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61959" indent="-180980" algn="l" defTabSz="91442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HelveticaNeue LT 45 Lt" pitchFamily="34" charset="0"/>
              <a:buChar char="—"/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42939" indent="-180980" algn="l" defTabSz="914423" rtl="0" eaLnBrk="1" latinLnBrk="0" hangingPunct="1"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SzPct val="120000"/>
              <a:buFont typeface="HelveticaNeue LT 45 Lt" pitchFamily="34" charset="0"/>
              <a:buChar char="—"/>
              <a:defRPr sz="10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52" indent="-228606" algn="l" defTabSz="914423" rtl="0" eaLnBrk="1" latinLnBrk="0" hangingPunct="1">
              <a:spcBef>
                <a:spcPts val="0"/>
              </a:spcBef>
              <a:spcAft>
                <a:spcPts val="360"/>
              </a:spcAft>
              <a:buFont typeface="Calibri" pitchFamily="34" charset="0"/>
              <a:buChar char="—"/>
              <a:defRPr sz="1000" kern="1200">
                <a:solidFill>
                  <a:srgbClr val="4D4F53"/>
                </a:solidFill>
                <a:latin typeface="HelveticaNeue LT 45 Lt" pitchFamily="34" charset="0"/>
                <a:ea typeface="+mn-ea"/>
                <a:cs typeface="+mn-cs"/>
              </a:defRPr>
            </a:lvl5pPr>
            <a:lvl6pPr marL="2514663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74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86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97" indent="-228606" algn="l" defTabSz="914423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82245" indent="0">
              <a:buNone/>
            </a:pPr>
            <a:r>
              <a:rPr lang="pt-BR" sz="1100" b="1" dirty="0">
                <a:latin typeface="+mj-lt"/>
              </a:rPr>
              <a:t>ÁREA/LOCAL: Manutenção</a:t>
            </a:r>
          </a:p>
          <a:p>
            <a:pPr marL="182245" indent="0">
              <a:buNone/>
            </a:pPr>
            <a:r>
              <a:rPr lang="pt-BR" sz="1100" b="1" u="sng" dirty="0">
                <a:latin typeface="+mj-lt"/>
              </a:rPr>
              <a:t>Horário de Atendimentos: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100" dirty="0">
                <a:latin typeface="+mj-lt"/>
              </a:rPr>
              <a:t>Sextas - Das 13h00 às 16h00</a:t>
            </a:r>
          </a:p>
          <a:p>
            <a:pPr marL="182245" indent="0">
              <a:buNone/>
            </a:pPr>
            <a:endParaRPr lang="pt-BR" sz="1100" b="1" dirty="0">
              <a:latin typeface="+mj-lt"/>
            </a:endParaRPr>
          </a:p>
          <a:p>
            <a:pPr marL="182245" indent="0">
              <a:buNone/>
            </a:pPr>
            <a:r>
              <a:rPr lang="pt-BR" sz="1100" b="1" u="sng" dirty="0">
                <a:latin typeface="+mj-lt"/>
              </a:rPr>
              <a:t>Datas programadas: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100" b="1" dirty="0">
                <a:latin typeface="+mj-lt"/>
              </a:rPr>
              <a:t>Janeiro</a:t>
            </a:r>
            <a:r>
              <a:rPr lang="pt-BR" sz="1100" dirty="0">
                <a:latin typeface="+mj-lt"/>
              </a:rPr>
              <a:t> – 12/01/2024 (</a:t>
            </a:r>
            <a:r>
              <a:rPr lang="pt-BR" sz="1100" b="1" dirty="0">
                <a:latin typeface="+mj-lt"/>
              </a:rPr>
              <a:t>Fernanda</a:t>
            </a:r>
            <a:r>
              <a:rPr lang="pt-BR" sz="1100" dirty="0">
                <a:latin typeface="+mj-lt"/>
              </a:rPr>
              <a:t>)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100" b="1" dirty="0">
                <a:latin typeface="+mj-lt"/>
              </a:rPr>
              <a:t>Fevereiro</a:t>
            </a:r>
            <a:r>
              <a:rPr lang="pt-BR" sz="1100" dirty="0">
                <a:latin typeface="+mj-lt"/>
              </a:rPr>
              <a:t> – 09/02/2024 (</a:t>
            </a:r>
            <a:r>
              <a:rPr lang="pt-BR" sz="1100" b="1" dirty="0">
                <a:latin typeface="+mj-lt"/>
              </a:rPr>
              <a:t>Fernanda</a:t>
            </a:r>
            <a:r>
              <a:rPr lang="pt-BR" sz="1100" dirty="0">
                <a:latin typeface="+mj-lt"/>
              </a:rPr>
              <a:t>)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100" b="1" dirty="0">
                <a:latin typeface="+mj-lt"/>
              </a:rPr>
              <a:t>Março</a:t>
            </a:r>
            <a:r>
              <a:rPr lang="pt-BR" sz="1100" dirty="0">
                <a:latin typeface="+mj-lt"/>
              </a:rPr>
              <a:t> – 08/03/2024 (</a:t>
            </a:r>
            <a:r>
              <a:rPr lang="pt-BR" sz="1100" b="1" dirty="0">
                <a:latin typeface="+mj-lt"/>
              </a:rPr>
              <a:t>Fernanda</a:t>
            </a:r>
            <a:r>
              <a:rPr lang="pt-BR" sz="1100" dirty="0">
                <a:latin typeface="+mj-lt"/>
              </a:rPr>
              <a:t>)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100" b="1" dirty="0">
                <a:latin typeface="+mj-lt"/>
              </a:rPr>
              <a:t>Abril</a:t>
            </a:r>
            <a:r>
              <a:rPr lang="pt-BR" sz="1100" dirty="0">
                <a:latin typeface="+mj-lt"/>
              </a:rPr>
              <a:t> – 12/04/2024 (</a:t>
            </a:r>
            <a:r>
              <a:rPr lang="pt-BR" sz="1100" b="1" dirty="0">
                <a:latin typeface="+mj-lt"/>
              </a:rPr>
              <a:t>Fernanda</a:t>
            </a:r>
            <a:r>
              <a:rPr lang="pt-BR" sz="1100" dirty="0">
                <a:latin typeface="+mj-lt"/>
              </a:rPr>
              <a:t>)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100" b="1" dirty="0">
                <a:latin typeface="+mj-lt"/>
              </a:rPr>
              <a:t>Maio</a:t>
            </a:r>
            <a:r>
              <a:rPr lang="pt-BR" sz="1100" dirty="0">
                <a:latin typeface="+mj-lt"/>
              </a:rPr>
              <a:t> – 10/05/2024 (</a:t>
            </a:r>
            <a:r>
              <a:rPr lang="pt-BR" sz="1100" b="1" dirty="0">
                <a:latin typeface="+mj-lt"/>
              </a:rPr>
              <a:t>Fernanda</a:t>
            </a:r>
            <a:r>
              <a:rPr lang="pt-BR" sz="1100" dirty="0">
                <a:latin typeface="+mj-lt"/>
              </a:rPr>
              <a:t>)</a:t>
            </a:r>
          </a:p>
          <a:p>
            <a:pPr marL="353695" indent="-171450">
              <a:buClr>
                <a:schemeClr val="accent6">
                  <a:lumMod val="50000"/>
                </a:schemeClr>
              </a:buClr>
              <a:buFont typeface="Wingdings" panose="05000000000000000000" pitchFamily="2" charset="2"/>
              <a:buChar char="§"/>
            </a:pPr>
            <a:r>
              <a:rPr lang="pt-BR" sz="1100" b="1" dirty="0">
                <a:latin typeface="+mj-lt"/>
              </a:rPr>
              <a:t>Junho</a:t>
            </a:r>
            <a:r>
              <a:rPr lang="pt-BR" sz="1100" dirty="0">
                <a:latin typeface="+mj-lt"/>
              </a:rPr>
              <a:t> – 14/06/2024 (</a:t>
            </a:r>
            <a:r>
              <a:rPr lang="pt-BR" sz="1100" b="1" dirty="0">
                <a:latin typeface="+mj-lt"/>
              </a:rPr>
              <a:t>Fernanda</a:t>
            </a:r>
            <a:r>
              <a:rPr lang="pt-BR" sz="1100" dirty="0">
                <a:latin typeface="+mj-lt"/>
              </a:rPr>
              <a:t>)</a:t>
            </a:r>
          </a:p>
          <a:p>
            <a:pPr marL="182245">
              <a:spcAft>
                <a:spcPts val="1800"/>
              </a:spcAft>
              <a:buClrTx/>
            </a:pPr>
            <a:endParaRPr lang="pt-BR" sz="11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21165285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SlideMasterVerticalRul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SlideMasterVerticalRul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SlideMasterVerticalRul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Rul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SlideMasterVerticalRul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Stamp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SlideMasterVerticalRu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OBJECT_NAME" val="jpmSlideMasterVerticalRule"/>
</p:tagLst>
</file>

<file path=ppt/theme/theme1.xml><?xml version="1.0" encoding="utf-8"?>
<a:theme xmlns:a="http://schemas.openxmlformats.org/drawingml/2006/main" name="Print A4 Image">
  <a:themeElements>
    <a:clrScheme name="Custom 1">
      <a:dk1>
        <a:srgbClr val="333333"/>
      </a:dk1>
      <a:lt1>
        <a:srgbClr val="FFFFFF"/>
      </a:lt1>
      <a:dk2>
        <a:srgbClr val="17375E"/>
      </a:dk2>
      <a:lt2>
        <a:srgbClr val="E6E6E7"/>
      </a:lt2>
      <a:accent1>
        <a:srgbClr val="0D2B55"/>
      </a:accent1>
      <a:accent2>
        <a:srgbClr val="2E75B6"/>
      </a:accent2>
      <a:accent3>
        <a:srgbClr val="78ADDD"/>
      </a:accent3>
      <a:accent4>
        <a:srgbClr val="C0D5F0"/>
      </a:accent4>
      <a:accent5>
        <a:srgbClr val="BFBFBF"/>
      </a:accent5>
      <a:accent6>
        <a:srgbClr val="E1C000"/>
      </a:accent6>
      <a:hlink>
        <a:srgbClr val="4F81BD"/>
      </a:hlink>
      <a:folHlink>
        <a:srgbClr val="70193D"/>
      </a:folHlink>
    </a:clrScheme>
    <a:fontScheme name="MACCAP Global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wrap="square" lIns="36000" tIns="36000" rIns="36000" bIns="36000" rtlCol="0" anchor="ctr" anchorCtr="0"/>
      <a:lstStyle>
        <a:defPPr algn="ctr">
          <a:defRPr sz="10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rgbClr val="A7A8AB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noFill/>
        </a:ln>
      </a:spPr>
      <a:bodyPr wrap="square" lIns="36000" tIns="36000" rIns="36000" bIns="36000" rtlCol="0" anchor="ctr" anchorCtr="0">
        <a:noAutofit/>
      </a:bodyPr>
      <a:lstStyle>
        <a:defPPr algn="ctr">
          <a:defRPr sz="100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txDef>
  </a:objectDefaults>
  <a:extraClrSchemeLst/>
</a:theme>
</file>

<file path=ppt/theme/theme2.xml><?xml version="1.0" encoding="utf-8"?>
<a:theme xmlns:a="http://schemas.openxmlformats.org/drawingml/2006/main" name="Tema do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3554</TotalTime>
  <Words>277</Words>
  <Application>Microsoft Office PowerPoint</Application>
  <PresentationFormat>Widescreen</PresentationFormat>
  <Paragraphs>51</Paragraphs>
  <Slides>1</Slides>
  <Notes>0</Notes>
  <HiddenSlides>0</HiddenSlides>
  <MMClips>0</MMClips>
  <ScaleCrop>false</ScaleCrop>
  <HeadingPairs>
    <vt:vector size="8" baseType="variant">
      <vt:variant>
        <vt:lpstr>Fontes usadas</vt:lpstr>
      </vt:variant>
      <vt:variant>
        <vt:i4>5</vt:i4>
      </vt:variant>
      <vt:variant>
        <vt:lpstr>Tema</vt:lpstr>
      </vt:variant>
      <vt:variant>
        <vt:i4>1</vt:i4>
      </vt:variant>
      <vt:variant>
        <vt:lpstr>Servidores OLE inseridos</vt:lpstr>
      </vt:variant>
      <vt:variant>
        <vt:i4>1</vt:i4>
      </vt:variant>
      <vt:variant>
        <vt:lpstr>Títulos de slides</vt:lpstr>
      </vt:variant>
      <vt:variant>
        <vt:i4>1</vt:i4>
      </vt:variant>
    </vt:vector>
  </HeadingPairs>
  <TitlesOfParts>
    <vt:vector size="8" baseType="lpstr">
      <vt:lpstr>Arial</vt:lpstr>
      <vt:lpstr>Arial MT</vt:lpstr>
      <vt:lpstr>Calibri</vt:lpstr>
      <vt:lpstr>HelveticaNeue LT 45 Lt</vt:lpstr>
      <vt:lpstr>Wingdings</vt:lpstr>
      <vt:lpstr>Print A4 Image</vt:lpstr>
      <vt:lpstr>Slide do think-cell</vt:lpstr>
      <vt:lpstr>Apresentação do PowerPoint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esentação do PowerPoint</dc:title>
  <dc:creator>Bruno Jose de Albuquerque Mota</dc:creator>
  <cp:lastModifiedBy>Ricardo Sérgio Souza e Sousa</cp:lastModifiedBy>
  <cp:revision>863</cp:revision>
  <dcterms:created xsi:type="dcterms:W3CDTF">2020-04-15T18:22:07Z</dcterms:created>
  <dcterms:modified xsi:type="dcterms:W3CDTF">2023-12-18T12:55:58Z</dcterms:modified>
</cp:coreProperties>
</file>